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865" r:id="rId2"/>
    <p:sldMasterId id="2147483911" r:id="rId3"/>
    <p:sldMasterId id="2147484004" r:id="rId4"/>
    <p:sldMasterId id="2147484017" r:id="rId5"/>
    <p:sldMasterId id="2147484030" r:id="rId6"/>
  </p:sldMasterIdLst>
  <p:notesMasterIdLst>
    <p:notesMasterId r:id="rId29"/>
  </p:notesMasterIdLst>
  <p:handoutMasterIdLst>
    <p:handoutMasterId r:id="rId30"/>
  </p:handoutMasterIdLst>
  <p:sldIdLst>
    <p:sldId id="563" r:id="rId7"/>
    <p:sldId id="564" r:id="rId8"/>
    <p:sldId id="565" r:id="rId9"/>
    <p:sldId id="547" r:id="rId10"/>
    <p:sldId id="566" r:id="rId11"/>
    <p:sldId id="545" r:id="rId12"/>
    <p:sldId id="511" r:id="rId13"/>
    <p:sldId id="503" r:id="rId14"/>
    <p:sldId id="529" r:id="rId15"/>
    <p:sldId id="459" r:id="rId16"/>
    <p:sldId id="493" r:id="rId17"/>
    <p:sldId id="490" r:id="rId18"/>
    <p:sldId id="567" r:id="rId19"/>
    <p:sldId id="568" r:id="rId20"/>
    <p:sldId id="569" r:id="rId21"/>
    <p:sldId id="570" r:id="rId22"/>
    <p:sldId id="571" r:id="rId23"/>
    <p:sldId id="572" r:id="rId24"/>
    <p:sldId id="573" r:id="rId25"/>
    <p:sldId id="518" r:id="rId26"/>
    <p:sldId id="575" r:id="rId27"/>
    <p:sldId id="574" r:id="rId28"/>
  </p:sldIdLst>
  <p:sldSz cx="9144000" cy="5143500" type="screen16x9"/>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780C104-3270-8A4B-ADA7-6FE558B9B2B1}">
          <p14:sldIdLst>
            <p14:sldId id="563"/>
            <p14:sldId id="564"/>
            <p14:sldId id="565"/>
          </p14:sldIdLst>
        </p14:section>
        <p14:section name="Weather Overview" id="{3357392F-0CCF-EF46-82FC-B2AEC5879C9E}">
          <p14:sldIdLst>
            <p14:sldId id="547"/>
            <p14:sldId id="566"/>
            <p14:sldId id="545"/>
            <p14:sldId id="511"/>
            <p14:sldId id="503"/>
            <p14:sldId id="529"/>
            <p14:sldId id="459"/>
            <p14:sldId id="493"/>
          </p14:sldIdLst>
        </p14:section>
        <p14:section name="E&amp;U Use Cases" id="{A430CE4F-2E26-E74A-AF67-F68C8067ECE8}">
          <p14:sldIdLst>
            <p14:sldId id="490"/>
            <p14:sldId id="567"/>
            <p14:sldId id="568"/>
            <p14:sldId id="569"/>
            <p14:sldId id="570"/>
            <p14:sldId id="571"/>
            <p14:sldId id="572"/>
            <p14:sldId id="573"/>
          </p14:sldIdLst>
        </p14:section>
        <p14:section name="Summary" id="{1838A55C-240E-8846-9667-CD90B25BCB0C}">
          <p14:sldIdLst>
            <p14:sldId id="518"/>
            <p14:sldId id="575"/>
            <p14:sldId id="574"/>
          </p14:sldIdLst>
        </p14:section>
      </p14:sectionLst>
    </p:ext>
    <p:ext uri="{EFAFB233-063F-42B5-8137-9DF3F51BA10A}">
      <p15:sldGuideLst xmlns:p15="http://schemas.microsoft.com/office/powerpoint/2012/main">
        <p15:guide id="1" orient="horz" pos="2148">
          <p15:clr>
            <a:srgbClr val="A4A3A4"/>
          </p15:clr>
        </p15:guide>
        <p15:guide id="2" pos="5759">
          <p15:clr>
            <a:srgbClr val="A4A3A4"/>
          </p15:clr>
        </p15:guide>
        <p15:guide id="3" orient="horz" pos="2388">
          <p15:clr>
            <a:srgbClr val="A4A3A4"/>
          </p15:clr>
        </p15:guide>
        <p15:guide id="4" orient="horz" pos="180">
          <p15:clr>
            <a:srgbClr val="A4A3A4"/>
          </p15:clr>
        </p15:guide>
        <p15:guide id="5" orient="horz" pos="660">
          <p15:clr>
            <a:srgbClr val="A4A3A4"/>
          </p15:clr>
        </p15:guide>
        <p15:guide id="6" pos="2831">
          <p15:clr>
            <a:srgbClr val="A4A3A4"/>
          </p15:clr>
        </p15:guide>
        <p15:guide id="7" orient="horz" pos="36">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071950"/>
    <a:srgbClr val="1E4FC5"/>
    <a:srgbClr val="C52113"/>
    <a:srgbClr val="FFEAA0"/>
    <a:srgbClr val="F0B405"/>
    <a:srgbClr val="34A7FA"/>
    <a:srgbClr val="B5A1DF"/>
    <a:srgbClr val="988CFF"/>
    <a:srgbClr val="987E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543" autoAdjust="0"/>
    <p:restoredTop sz="95349" autoAdjust="0"/>
  </p:normalViewPr>
  <p:slideViewPr>
    <p:cSldViewPr>
      <p:cViewPr varScale="1">
        <p:scale>
          <a:sx n="119" d="100"/>
          <a:sy n="119" d="100"/>
        </p:scale>
        <p:origin x="726" y="96"/>
      </p:cViewPr>
      <p:guideLst>
        <p:guide orient="horz" pos="2148"/>
        <p:guide pos="5759"/>
        <p:guide orient="horz" pos="2388"/>
        <p:guide orient="horz" pos="180"/>
        <p:guide orient="horz" pos="660"/>
        <p:guide pos="2831"/>
        <p:guide orient="horz" pos="36"/>
      </p:guideLst>
    </p:cSldViewPr>
  </p:slideViewPr>
  <p:outlineViewPr>
    <p:cViewPr>
      <p:scale>
        <a:sx n="60" d="100"/>
        <a:sy n="60" d="100"/>
      </p:scale>
      <p:origin x="0" y="0"/>
    </p:cViewPr>
  </p:outlineViewPr>
  <p:notesTextViewPr>
    <p:cViewPr>
      <p:scale>
        <a:sx n="1" d="1"/>
        <a:sy n="1" d="1"/>
      </p:scale>
      <p:origin x="0" y="0"/>
    </p:cViewPr>
  </p:notesTextViewPr>
  <p:sorterViewPr>
    <p:cViewPr>
      <p:scale>
        <a:sx n="66" d="100"/>
        <a:sy n="66" d="100"/>
      </p:scale>
      <p:origin x="0" y="0"/>
    </p:cViewPr>
  </p:sorterViewPr>
  <p:notesViewPr>
    <p:cSldViewPr>
      <p:cViewPr varScale="1">
        <p:scale>
          <a:sx n="142" d="100"/>
          <a:sy n="142" d="100"/>
        </p:scale>
        <p:origin x="2496" y="19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pneilley\Documents\PFP%20Experiment%20graph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849677881173901E-2"/>
          <c:y val="5.28455284552845E-2"/>
          <c:w val="0.93645335242185601"/>
          <c:h val="0.84033896677549502"/>
        </c:manualLayout>
      </c:layout>
      <c:barChart>
        <c:barDir val="col"/>
        <c:grouping val="clustered"/>
        <c:varyColors val="0"/>
        <c:ser>
          <c:idx val="0"/>
          <c:order val="0"/>
          <c:spPr>
            <a:gradFill rotWithShape="1">
              <a:gsLst>
                <a:gs pos="0">
                  <a:schemeClr val="accent6">
                    <a:tint val="50000"/>
                    <a:satMod val="300000"/>
                  </a:schemeClr>
                </a:gs>
                <a:gs pos="35000">
                  <a:schemeClr val="accent6">
                    <a:tint val="37000"/>
                    <a:satMod val="300000"/>
                  </a:schemeClr>
                </a:gs>
                <a:gs pos="100000">
                  <a:schemeClr val="accent6">
                    <a:tint val="15000"/>
                    <a:satMod val="350000"/>
                  </a:schemeClr>
                </a:gs>
              </a:gsLst>
              <a:lin ang="16200000" scaled="1"/>
            </a:gradFill>
            <a:ln w="9525" cap="flat" cmpd="sng" algn="ctr">
              <a:solidFill>
                <a:schemeClr val="accent6">
                  <a:shade val="95000"/>
                  <a:satMod val="105000"/>
                </a:schemeClr>
              </a:solidFill>
              <a:prstDash val="solid"/>
            </a:ln>
            <a:effectLst>
              <a:outerShdw blurRad="40000" dist="20000" dir="5400000" rotWithShape="0">
                <a:srgbClr val="000000">
                  <a:alpha val="38000"/>
                </a:srgbClr>
              </a:outerShdw>
            </a:effectLst>
          </c:spPr>
          <c:invertIfNegative val="0"/>
          <c:dPt>
            <c:idx val="0"/>
            <c:invertIfNegative val="0"/>
            <c:bubble3D val="0"/>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c:spPr>
            <c:extLst xmlns:c16r2="http://schemas.microsoft.com/office/drawing/2015/06/chart">
              <c:ext xmlns:c16="http://schemas.microsoft.com/office/drawing/2014/chart" uri="{C3380CC4-5D6E-409C-BE32-E72D297353CC}">
                <c16:uniqueId val="{00000001-CB3C-4739-85B0-A7B6A809484E}"/>
              </c:ext>
            </c:extLst>
          </c:dPt>
          <c:dPt>
            <c:idx val="1"/>
            <c:invertIfNegative val="0"/>
            <c:bubble3D val="0"/>
            <c:spPr>
              <a:gradFill rotWithShape="1">
                <a:gsLst>
                  <a:gs pos="0">
                    <a:schemeClr val="accent2">
                      <a:lumMod val="110000"/>
                      <a:satMod val="105000"/>
                      <a:tint val="67000"/>
                    </a:schemeClr>
                  </a:gs>
                  <a:gs pos="50000">
                    <a:schemeClr val="accent2">
                      <a:lumMod val="105000"/>
                      <a:satMod val="103000"/>
                      <a:tint val="73000"/>
                    </a:schemeClr>
                  </a:gs>
                  <a:gs pos="100000">
                    <a:schemeClr val="accent2">
                      <a:lumMod val="105000"/>
                      <a:satMod val="109000"/>
                      <a:tint val="81000"/>
                    </a:schemeClr>
                  </a:gs>
                </a:gsLst>
                <a:lin ang="5400000" scaled="0"/>
              </a:gradFill>
              <a:ln w="6350" cap="flat" cmpd="sng" algn="ctr">
                <a:solidFill>
                  <a:schemeClr val="accent2"/>
                </a:solidFill>
                <a:prstDash val="solid"/>
                <a:miter lim="800000"/>
              </a:ln>
              <a:effectLst/>
            </c:spPr>
            <c:extLst xmlns:c16r2="http://schemas.microsoft.com/office/drawing/2015/06/chart">
              <c:ext xmlns:c16="http://schemas.microsoft.com/office/drawing/2014/chart" uri="{C3380CC4-5D6E-409C-BE32-E72D297353CC}">
                <c16:uniqueId val="{00000003-CB3C-4739-85B0-A7B6A809484E}"/>
              </c:ext>
            </c:extLst>
          </c:dPt>
          <c:dPt>
            <c:idx val="2"/>
            <c:invertIfNegative val="0"/>
            <c:bubble3D val="0"/>
            <c:spPr>
              <a:gradFill rotWithShape="1">
                <a:gsLst>
                  <a:gs pos="0">
                    <a:schemeClr val="accent2">
                      <a:lumMod val="110000"/>
                      <a:satMod val="105000"/>
                      <a:tint val="67000"/>
                    </a:schemeClr>
                  </a:gs>
                  <a:gs pos="50000">
                    <a:schemeClr val="accent2">
                      <a:lumMod val="105000"/>
                      <a:satMod val="103000"/>
                      <a:tint val="73000"/>
                    </a:schemeClr>
                  </a:gs>
                  <a:gs pos="100000">
                    <a:schemeClr val="accent2">
                      <a:lumMod val="105000"/>
                      <a:satMod val="109000"/>
                      <a:tint val="81000"/>
                    </a:schemeClr>
                  </a:gs>
                </a:gsLst>
                <a:lin ang="5400000" scaled="0"/>
              </a:gradFill>
              <a:ln w="6350" cap="flat" cmpd="sng" algn="ctr">
                <a:solidFill>
                  <a:schemeClr val="accent2"/>
                </a:solidFill>
                <a:prstDash val="solid"/>
                <a:miter lim="800000"/>
              </a:ln>
              <a:effectLst/>
            </c:spPr>
            <c:extLst xmlns:c16r2="http://schemas.microsoft.com/office/drawing/2015/06/chart">
              <c:ext xmlns:c16="http://schemas.microsoft.com/office/drawing/2014/chart" uri="{C3380CC4-5D6E-409C-BE32-E72D297353CC}">
                <c16:uniqueId val="{00000005-CB3C-4739-85B0-A7B6A809484E}"/>
              </c:ext>
            </c:extLst>
          </c:dPt>
          <c:dPt>
            <c:idx val="3"/>
            <c:invertIfNegative val="0"/>
            <c:bubble3D val="0"/>
            <c:spPr>
              <a:gradFill rotWithShape="1">
                <a:gsLst>
                  <a:gs pos="0">
                    <a:schemeClr val="accent2">
                      <a:lumMod val="110000"/>
                      <a:satMod val="105000"/>
                      <a:tint val="67000"/>
                    </a:schemeClr>
                  </a:gs>
                  <a:gs pos="50000">
                    <a:schemeClr val="accent2">
                      <a:lumMod val="105000"/>
                      <a:satMod val="103000"/>
                      <a:tint val="73000"/>
                    </a:schemeClr>
                  </a:gs>
                  <a:gs pos="100000">
                    <a:schemeClr val="accent2">
                      <a:lumMod val="105000"/>
                      <a:satMod val="109000"/>
                      <a:tint val="81000"/>
                    </a:schemeClr>
                  </a:gs>
                </a:gsLst>
                <a:lin ang="5400000" scaled="0"/>
              </a:gradFill>
              <a:ln w="6350" cap="flat" cmpd="sng" algn="ctr">
                <a:solidFill>
                  <a:schemeClr val="accent2"/>
                </a:solidFill>
                <a:prstDash val="solid"/>
                <a:miter lim="800000"/>
              </a:ln>
              <a:effectLst/>
            </c:spPr>
            <c:extLst xmlns:c16r2="http://schemas.microsoft.com/office/drawing/2015/06/chart">
              <c:ext xmlns:c16="http://schemas.microsoft.com/office/drawing/2014/chart" uri="{C3380CC4-5D6E-409C-BE32-E72D297353CC}">
                <c16:uniqueId val="{00000007-CB3C-4739-85B0-A7B6A809484E}"/>
              </c:ext>
            </c:extLst>
          </c:dPt>
          <c:dPt>
            <c:idx val="8"/>
            <c:invertIfNegative val="0"/>
            <c:bubble3D val="0"/>
            <c:extLst xmlns:c16r2="http://schemas.microsoft.com/office/drawing/2015/06/chart">
              <c:ext xmlns:c16="http://schemas.microsoft.com/office/drawing/2014/chart" uri="{C3380CC4-5D6E-409C-BE32-E72D297353CC}">
                <c16:uniqueId val="{00000008-CB3C-4739-85B0-A7B6A809484E}"/>
              </c:ext>
            </c:extLst>
          </c:dPt>
          <c:dPt>
            <c:idx val="9"/>
            <c:invertIfNegative val="0"/>
            <c:bubble3D val="0"/>
            <c:extLst xmlns:c16r2="http://schemas.microsoft.com/office/drawing/2015/06/chart">
              <c:ext xmlns:c16="http://schemas.microsoft.com/office/drawing/2014/chart" uri="{C3380CC4-5D6E-409C-BE32-E72D297353CC}">
                <c16:uniqueId val="{00000009-CB3C-4739-85B0-A7B6A809484E}"/>
              </c:ext>
            </c:extLst>
          </c:dPt>
          <c:dPt>
            <c:idx val="10"/>
            <c:invertIfNegative val="0"/>
            <c:bubble3D val="0"/>
            <c:extLst xmlns:c16r2="http://schemas.microsoft.com/office/drawing/2015/06/chart">
              <c:ext xmlns:c16="http://schemas.microsoft.com/office/drawing/2014/chart" uri="{C3380CC4-5D6E-409C-BE32-E72D297353CC}">
                <c16:uniqueId val="{0000000A-CB3C-4739-85B0-A7B6A809484E}"/>
              </c:ext>
            </c:extLst>
          </c:dPt>
          <c:dPt>
            <c:idx val="11"/>
            <c:invertIfNegative val="0"/>
            <c:bubble3D val="0"/>
            <c:extLst xmlns:c16r2="http://schemas.microsoft.com/office/drawing/2015/06/chart">
              <c:ext xmlns:c16="http://schemas.microsoft.com/office/drawing/2014/chart" uri="{C3380CC4-5D6E-409C-BE32-E72D297353CC}">
                <c16:uniqueId val="{0000000B-CB3C-4739-85B0-A7B6A809484E}"/>
              </c:ext>
            </c:extLst>
          </c:dPt>
          <c:cat>
            <c:strRef>
              <c:f>Sheet3!$A$1:$A$12</c:f>
              <c:strCache>
                <c:ptCount val="12"/>
                <c:pt idx="0">
                  <c:v>FoD</c:v>
                </c:pt>
                <c:pt idx="1">
                  <c:v> mav</c:v>
                </c:pt>
                <c:pt idx="2">
                  <c:v> grid mos</c:v>
                </c:pt>
                <c:pt idx="3">
                  <c:v>nammo</c:v>
                </c:pt>
                <c:pt idx="4">
                  <c:v> ecmwf_ens</c:v>
                </c:pt>
                <c:pt idx="5">
                  <c:v>ecmwf</c:v>
                </c:pt>
                <c:pt idx="6">
                  <c:v>nam</c:v>
                </c:pt>
                <c:pt idx="7">
                  <c:v>rpm-reg</c:v>
                </c:pt>
                <c:pt idx="8">
                  <c:v>mex</c:v>
                </c:pt>
                <c:pt idx="9">
                  <c:v> rpm-glbl</c:v>
                </c:pt>
                <c:pt idx="10">
                  <c:v>gfs</c:v>
                </c:pt>
                <c:pt idx="11">
                  <c:v>gefs</c:v>
                </c:pt>
              </c:strCache>
            </c:strRef>
          </c:cat>
          <c:val>
            <c:numRef>
              <c:f>Sheet3!$B$1:$B$12</c:f>
              <c:numCache>
                <c:formatCode>General</c:formatCode>
                <c:ptCount val="12"/>
                <c:pt idx="0">
                  <c:v>1.8</c:v>
                </c:pt>
                <c:pt idx="1">
                  <c:v>2.16</c:v>
                </c:pt>
                <c:pt idx="2">
                  <c:v>2.19</c:v>
                </c:pt>
                <c:pt idx="3">
                  <c:v>2.29</c:v>
                </c:pt>
                <c:pt idx="4">
                  <c:v>2.41</c:v>
                </c:pt>
                <c:pt idx="5">
                  <c:v>2.4300000000000002</c:v>
                </c:pt>
                <c:pt idx="6">
                  <c:v>2.58</c:v>
                </c:pt>
                <c:pt idx="7">
                  <c:v>2.63</c:v>
                </c:pt>
                <c:pt idx="8">
                  <c:v>2.72</c:v>
                </c:pt>
                <c:pt idx="9">
                  <c:v>2.77</c:v>
                </c:pt>
                <c:pt idx="10">
                  <c:v>2.83</c:v>
                </c:pt>
                <c:pt idx="11">
                  <c:v>2.85</c:v>
                </c:pt>
              </c:numCache>
            </c:numRef>
          </c:val>
          <c:extLst xmlns:c16r2="http://schemas.microsoft.com/office/drawing/2015/06/chart">
            <c:ext xmlns:c16="http://schemas.microsoft.com/office/drawing/2014/chart" uri="{C3380CC4-5D6E-409C-BE32-E72D297353CC}">
              <c16:uniqueId val="{0000000C-CB3C-4739-85B0-A7B6A809484E}"/>
            </c:ext>
          </c:extLst>
        </c:ser>
        <c:dLbls>
          <c:showLegendKey val="0"/>
          <c:showVal val="0"/>
          <c:showCatName val="0"/>
          <c:showSerName val="0"/>
          <c:showPercent val="0"/>
          <c:showBubbleSize val="0"/>
        </c:dLbls>
        <c:gapWidth val="66"/>
        <c:overlap val="-66"/>
        <c:axId val="716550312"/>
        <c:axId val="716550704"/>
      </c:barChart>
      <c:catAx>
        <c:axId val="716550312"/>
        <c:scaling>
          <c:orientation val="minMax"/>
        </c:scaling>
        <c:delete val="0"/>
        <c:axPos val="b"/>
        <c:numFmt formatCode="General" sourceLinked="0"/>
        <c:majorTickMark val="out"/>
        <c:minorTickMark val="none"/>
        <c:tickLblPos val="nextTo"/>
        <c:txPr>
          <a:bodyPr/>
          <a:lstStyle/>
          <a:p>
            <a:pPr>
              <a:defRPr sz="1000" b="0">
                <a:solidFill>
                  <a:schemeClr val="accent2"/>
                </a:solidFill>
                <a:latin typeface="Helvetica Neue" charset="0"/>
                <a:ea typeface="Helvetica Neue" charset="0"/>
                <a:cs typeface="Helvetica Neue" charset="0"/>
              </a:defRPr>
            </a:pPr>
            <a:endParaRPr lang="en-US"/>
          </a:p>
        </c:txPr>
        <c:crossAx val="716550704"/>
        <c:crosses val="autoZero"/>
        <c:auto val="1"/>
        <c:lblAlgn val="ctr"/>
        <c:lblOffset val="100"/>
        <c:noMultiLvlLbl val="0"/>
      </c:catAx>
      <c:valAx>
        <c:axId val="716550704"/>
        <c:scaling>
          <c:orientation val="minMax"/>
          <c:max val="3"/>
          <c:min val="1.4"/>
        </c:scaling>
        <c:delete val="0"/>
        <c:axPos val="l"/>
        <c:majorGridlines/>
        <c:numFmt formatCode="General" sourceLinked="1"/>
        <c:majorTickMark val="out"/>
        <c:minorTickMark val="none"/>
        <c:tickLblPos val="nextTo"/>
        <c:txPr>
          <a:bodyPr/>
          <a:lstStyle/>
          <a:p>
            <a:pPr>
              <a:defRPr>
                <a:solidFill>
                  <a:schemeClr val="bg1"/>
                </a:solidFill>
              </a:defRPr>
            </a:pPr>
            <a:endParaRPr lang="en-US"/>
          </a:p>
        </c:txPr>
        <c:crossAx val="716550312"/>
        <c:crosses val="autoZero"/>
        <c:crossBetween val="between"/>
      </c:valAx>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D562DA25-EBBC-3F41-B351-B7DA04F72A93}" type="datetimeFigureOut">
              <a:rPr lang="en-US" smtClean="0"/>
              <a:t>2/8/2017</a:t>
            </a:fld>
            <a:endParaRPr lang="en-US" dirty="0"/>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EA5F9F25-27EE-8E47-9552-2E1AE4C9A609}" type="slidenum">
              <a:rPr lang="en-US" smtClean="0"/>
              <a:t>‹#›</a:t>
            </a:fld>
            <a:endParaRPr lang="en-US" dirty="0"/>
          </a:p>
        </p:txBody>
      </p:sp>
    </p:spTree>
    <p:extLst>
      <p:ext uri="{BB962C8B-B14F-4D97-AF65-F5344CB8AC3E}">
        <p14:creationId xmlns:p14="http://schemas.microsoft.com/office/powerpoint/2010/main" val="2675647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38" y="0"/>
            <a:ext cx="3038475" cy="465138"/>
          </a:xfrm>
          <a:prstGeom prst="rect">
            <a:avLst/>
          </a:prstGeom>
        </p:spPr>
        <p:txBody>
          <a:bodyPr vert="horz" lIns="91440" tIns="45720" rIns="91440" bIns="45720" rtlCol="0"/>
          <a:lstStyle>
            <a:lvl1pPr algn="r">
              <a:defRPr sz="1200"/>
            </a:lvl1pPr>
          </a:lstStyle>
          <a:p>
            <a:fld id="{21FC3216-3E4B-40CE-9367-ACB70ECAAE88}" type="datetimeFigureOut">
              <a:rPr lang="en-US" smtClean="0"/>
              <a:t>2/8/2017</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16425"/>
            <a:ext cx="5607050" cy="418306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38" y="8829675"/>
            <a:ext cx="3038475" cy="465138"/>
          </a:xfrm>
          <a:prstGeom prst="rect">
            <a:avLst/>
          </a:prstGeom>
        </p:spPr>
        <p:txBody>
          <a:bodyPr vert="horz" lIns="91440" tIns="45720" rIns="91440" bIns="45720" rtlCol="0" anchor="b"/>
          <a:lstStyle>
            <a:lvl1pPr algn="r">
              <a:defRPr sz="1200"/>
            </a:lvl1pPr>
          </a:lstStyle>
          <a:p>
            <a:fld id="{B50F86D4-1C2B-429E-8126-E822CC343766}" type="slidenum">
              <a:rPr lang="en-US" smtClean="0"/>
              <a:t>‹#›</a:t>
            </a:fld>
            <a:endParaRPr lang="en-US" dirty="0"/>
          </a:p>
        </p:txBody>
      </p:sp>
    </p:spTree>
    <p:extLst>
      <p:ext uri="{BB962C8B-B14F-4D97-AF65-F5344CB8AC3E}">
        <p14:creationId xmlns:p14="http://schemas.microsoft.com/office/powerpoint/2010/main" val="13001418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1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12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1F2E17B-8303-40B0-B698-E4303338DBAA}"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8075258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Objective of slides 25 – 31 – Tell</a:t>
            </a:r>
            <a:r>
              <a:rPr lang="en-US" baseline="0" dirty="0"/>
              <a:t> the story through USE CASES.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At the end of</a:t>
            </a:r>
            <a:r>
              <a:rPr lang="en-US" baseline="0" dirty="0"/>
              <a:t> the day, the most precise, accurate data</a:t>
            </a:r>
            <a:r>
              <a:rPr lang="is-IS" baseline="0" dirty="0"/>
              <a:t>…at scale yields insights that drive better decisions...sooner, which lead to more favorable outcomes. Let’s take a look at some of the solutions The Weather Company offers and the use cases that show them in action.</a:t>
            </a:r>
            <a:endParaRPr lang="en-US" dirty="0"/>
          </a:p>
          <a:p>
            <a:endParaRPr lang="en-US" dirty="0"/>
          </a:p>
        </p:txBody>
      </p:sp>
      <p:sp>
        <p:nvSpPr>
          <p:cNvPr id="4" name="Slide Number Placeholder 3"/>
          <p:cNvSpPr>
            <a:spLocks noGrp="1"/>
          </p:cNvSpPr>
          <p:nvPr>
            <p:ph type="sldNum" sz="quarter" idx="10"/>
          </p:nvPr>
        </p:nvSpPr>
        <p:spPr/>
        <p:txBody>
          <a:bodyPr/>
          <a:lstStyle/>
          <a:p>
            <a:fld id="{B50F86D4-1C2B-429E-8126-E822CC343766}" type="slidenum">
              <a:rPr lang="en-US" smtClean="0"/>
              <a:t>12</a:t>
            </a:fld>
            <a:endParaRPr lang="en-US" dirty="0"/>
          </a:p>
        </p:txBody>
      </p:sp>
    </p:spTree>
    <p:extLst>
      <p:ext uri="{BB962C8B-B14F-4D97-AF65-F5344CB8AC3E}">
        <p14:creationId xmlns:p14="http://schemas.microsoft.com/office/powerpoint/2010/main" val="10093052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bwMode="auto">
          <a:xfrm>
            <a:off x="-479425" y="893763"/>
            <a:ext cx="7954963" cy="44751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63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BBDBC1A-8B08-463C-9077-49789B8E9658}"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35754982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xfrm>
            <a:off x="-479425" y="893763"/>
            <a:ext cx="7954963" cy="44751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946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F20D3C4-6EF3-4E7C-BA32-54F0A1E453A3}"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0772652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15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053BD7-5974-4ECF-827F-5C65FFEA2823}"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403057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3554" name="Rectangle 7"/>
          <p:cNvSpPr>
            <a:spLocks noGrp="1" noChangeArrowheads="1"/>
          </p:cNvSpPr>
          <p:nvPr>
            <p:ph type="sldNum" sz="quarter" idx="5"/>
          </p:nvPr>
        </p:nvSpPr>
        <p:spPr bwMode="auto">
          <a:xfrm>
            <a:off x="-98425" y="-287338"/>
            <a:ext cx="196850" cy="35242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9" tIns="48329" rIns="96659" bIns="48329"/>
          <a:lstStyle>
            <a:lvl1pPr defTabSz="479425">
              <a:tabLst>
                <a:tab pos="0" algn="l"/>
                <a:tab pos="958850" algn="l"/>
                <a:tab pos="1916113" algn="l"/>
                <a:tab pos="2878138" algn="l"/>
                <a:tab pos="3838575" algn="l"/>
                <a:tab pos="4764088" algn="l"/>
                <a:tab pos="5756275" algn="l"/>
                <a:tab pos="6713538" algn="l"/>
                <a:tab pos="7640638" algn="l"/>
                <a:tab pos="8604250" algn="l"/>
                <a:tab pos="9594850" algn="l"/>
                <a:tab pos="10556875" algn="l"/>
              </a:tabLst>
              <a:defRPr kumimoji="1">
                <a:solidFill>
                  <a:schemeClr val="tx1"/>
                </a:solidFill>
                <a:latin typeface="Arial" panose="020B0604020202020204" pitchFamily="34" charset="0"/>
                <a:ea typeface="MS PGothic" panose="020B0600070205080204" pitchFamily="34" charset="-128"/>
              </a:defRPr>
            </a:lvl1pPr>
            <a:lvl2pPr marL="742950" indent="-285750" defTabSz="479425">
              <a:tabLst>
                <a:tab pos="0" algn="l"/>
                <a:tab pos="958850" algn="l"/>
                <a:tab pos="1916113" algn="l"/>
                <a:tab pos="2878138" algn="l"/>
                <a:tab pos="3838575" algn="l"/>
                <a:tab pos="4764088" algn="l"/>
                <a:tab pos="5756275" algn="l"/>
                <a:tab pos="6713538" algn="l"/>
                <a:tab pos="7640638" algn="l"/>
                <a:tab pos="8604250" algn="l"/>
                <a:tab pos="9594850" algn="l"/>
                <a:tab pos="10556875" algn="l"/>
              </a:tabLst>
              <a:defRPr kumimoji="1">
                <a:solidFill>
                  <a:schemeClr val="tx1"/>
                </a:solidFill>
                <a:latin typeface="Arial" panose="020B0604020202020204" pitchFamily="34" charset="0"/>
                <a:ea typeface="MS PGothic" panose="020B0600070205080204" pitchFamily="34" charset="-128"/>
              </a:defRPr>
            </a:lvl2pPr>
            <a:lvl3pPr marL="1143000" indent="-228600" defTabSz="479425">
              <a:tabLst>
                <a:tab pos="0" algn="l"/>
                <a:tab pos="958850" algn="l"/>
                <a:tab pos="1916113" algn="l"/>
                <a:tab pos="2878138" algn="l"/>
                <a:tab pos="3838575" algn="l"/>
                <a:tab pos="4764088" algn="l"/>
                <a:tab pos="5756275" algn="l"/>
                <a:tab pos="6713538" algn="l"/>
                <a:tab pos="7640638" algn="l"/>
                <a:tab pos="8604250" algn="l"/>
                <a:tab pos="9594850" algn="l"/>
                <a:tab pos="10556875" algn="l"/>
              </a:tabLst>
              <a:defRPr kumimoji="1">
                <a:solidFill>
                  <a:schemeClr val="tx1"/>
                </a:solidFill>
                <a:latin typeface="Arial" panose="020B0604020202020204" pitchFamily="34" charset="0"/>
                <a:ea typeface="MS PGothic" panose="020B0600070205080204" pitchFamily="34" charset="-128"/>
              </a:defRPr>
            </a:lvl3pPr>
            <a:lvl4pPr marL="1600200" indent="-228600" defTabSz="479425">
              <a:tabLst>
                <a:tab pos="0" algn="l"/>
                <a:tab pos="958850" algn="l"/>
                <a:tab pos="1916113" algn="l"/>
                <a:tab pos="2878138" algn="l"/>
                <a:tab pos="3838575" algn="l"/>
                <a:tab pos="4764088" algn="l"/>
                <a:tab pos="5756275" algn="l"/>
                <a:tab pos="6713538" algn="l"/>
                <a:tab pos="7640638" algn="l"/>
                <a:tab pos="8604250" algn="l"/>
                <a:tab pos="9594850" algn="l"/>
                <a:tab pos="10556875" algn="l"/>
              </a:tabLst>
              <a:defRPr kumimoji="1">
                <a:solidFill>
                  <a:schemeClr val="tx1"/>
                </a:solidFill>
                <a:latin typeface="Arial" panose="020B0604020202020204" pitchFamily="34" charset="0"/>
                <a:ea typeface="MS PGothic" panose="020B0600070205080204" pitchFamily="34" charset="-128"/>
              </a:defRPr>
            </a:lvl4pPr>
            <a:lvl5pPr marL="2057400" indent="-228600" defTabSz="479425">
              <a:tabLst>
                <a:tab pos="0" algn="l"/>
                <a:tab pos="958850" algn="l"/>
                <a:tab pos="1916113" algn="l"/>
                <a:tab pos="2878138" algn="l"/>
                <a:tab pos="3838575" algn="l"/>
                <a:tab pos="4764088" algn="l"/>
                <a:tab pos="5756275" algn="l"/>
                <a:tab pos="6713538" algn="l"/>
                <a:tab pos="7640638" algn="l"/>
                <a:tab pos="8604250" algn="l"/>
                <a:tab pos="9594850" algn="l"/>
                <a:tab pos="10556875" algn="l"/>
              </a:tabLst>
              <a:defRPr kumimoji="1">
                <a:solidFill>
                  <a:schemeClr val="tx1"/>
                </a:solidFill>
                <a:latin typeface="Arial" panose="020B0604020202020204" pitchFamily="34" charset="0"/>
                <a:ea typeface="MS PGothic" panose="020B0600070205080204" pitchFamily="34" charset="-128"/>
              </a:defRPr>
            </a:lvl5pPr>
            <a:lvl6pPr marL="2514600" indent="-228600" defTabSz="479425" eaLnBrk="0" fontAlgn="base" hangingPunct="0">
              <a:spcBef>
                <a:spcPct val="0"/>
              </a:spcBef>
              <a:spcAft>
                <a:spcPct val="0"/>
              </a:spcAft>
              <a:tabLst>
                <a:tab pos="0" algn="l"/>
                <a:tab pos="958850" algn="l"/>
                <a:tab pos="1916113" algn="l"/>
                <a:tab pos="2878138" algn="l"/>
                <a:tab pos="3838575" algn="l"/>
                <a:tab pos="4764088" algn="l"/>
                <a:tab pos="5756275" algn="l"/>
                <a:tab pos="6713538" algn="l"/>
                <a:tab pos="7640638" algn="l"/>
                <a:tab pos="8604250" algn="l"/>
                <a:tab pos="9594850" algn="l"/>
                <a:tab pos="10556875" algn="l"/>
              </a:tabLst>
              <a:defRPr kumimoji="1">
                <a:solidFill>
                  <a:schemeClr val="tx1"/>
                </a:solidFill>
                <a:latin typeface="Arial" panose="020B0604020202020204" pitchFamily="34" charset="0"/>
                <a:ea typeface="MS PGothic" panose="020B0600070205080204" pitchFamily="34" charset="-128"/>
              </a:defRPr>
            </a:lvl6pPr>
            <a:lvl7pPr marL="2971800" indent="-228600" defTabSz="479425" eaLnBrk="0" fontAlgn="base" hangingPunct="0">
              <a:spcBef>
                <a:spcPct val="0"/>
              </a:spcBef>
              <a:spcAft>
                <a:spcPct val="0"/>
              </a:spcAft>
              <a:tabLst>
                <a:tab pos="0" algn="l"/>
                <a:tab pos="958850" algn="l"/>
                <a:tab pos="1916113" algn="l"/>
                <a:tab pos="2878138" algn="l"/>
                <a:tab pos="3838575" algn="l"/>
                <a:tab pos="4764088" algn="l"/>
                <a:tab pos="5756275" algn="l"/>
                <a:tab pos="6713538" algn="l"/>
                <a:tab pos="7640638" algn="l"/>
                <a:tab pos="8604250" algn="l"/>
                <a:tab pos="9594850" algn="l"/>
                <a:tab pos="10556875" algn="l"/>
              </a:tabLst>
              <a:defRPr kumimoji="1">
                <a:solidFill>
                  <a:schemeClr val="tx1"/>
                </a:solidFill>
                <a:latin typeface="Arial" panose="020B0604020202020204" pitchFamily="34" charset="0"/>
                <a:ea typeface="MS PGothic" panose="020B0600070205080204" pitchFamily="34" charset="-128"/>
              </a:defRPr>
            </a:lvl7pPr>
            <a:lvl8pPr marL="3429000" indent="-228600" defTabSz="479425" eaLnBrk="0" fontAlgn="base" hangingPunct="0">
              <a:spcBef>
                <a:spcPct val="0"/>
              </a:spcBef>
              <a:spcAft>
                <a:spcPct val="0"/>
              </a:spcAft>
              <a:tabLst>
                <a:tab pos="0" algn="l"/>
                <a:tab pos="958850" algn="l"/>
                <a:tab pos="1916113" algn="l"/>
                <a:tab pos="2878138" algn="l"/>
                <a:tab pos="3838575" algn="l"/>
                <a:tab pos="4764088" algn="l"/>
                <a:tab pos="5756275" algn="l"/>
                <a:tab pos="6713538" algn="l"/>
                <a:tab pos="7640638" algn="l"/>
                <a:tab pos="8604250" algn="l"/>
                <a:tab pos="9594850" algn="l"/>
                <a:tab pos="10556875" algn="l"/>
              </a:tabLst>
              <a:defRPr kumimoji="1">
                <a:solidFill>
                  <a:schemeClr val="tx1"/>
                </a:solidFill>
                <a:latin typeface="Arial" panose="020B0604020202020204" pitchFamily="34" charset="0"/>
                <a:ea typeface="MS PGothic" panose="020B0600070205080204" pitchFamily="34" charset="-128"/>
              </a:defRPr>
            </a:lvl8pPr>
            <a:lvl9pPr marL="3886200" indent="-228600" defTabSz="479425" eaLnBrk="0" fontAlgn="base" hangingPunct="0">
              <a:spcBef>
                <a:spcPct val="0"/>
              </a:spcBef>
              <a:spcAft>
                <a:spcPct val="0"/>
              </a:spcAft>
              <a:tabLst>
                <a:tab pos="0" algn="l"/>
                <a:tab pos="958850" algn="l"/>
                <a:tab pos="1916113" algn="l"/>
                <a:tab pos="2878138" algn="l"/>
                <a:tab pos="3838575" algn="l"/>
                <a:tab pos="4764088" algn="l"/>
                <a:tab pos="5756275" algn="l"/>
                <a:tab pos="6713538" algn="l"/>
                <a:tab pos="7640638" algn="l"/>
                <a:tab pos="8604250" algn="l"/>
                <a:tab pos="9594850" algn="l"/>
                <a:tab pos="10556875" algn="l"/>
              </a:tabLst>
              <a:defRPr kumimoji="1">
                <a:solidFill>
                  <a:schemeClr val="tx1"/>
                </a:solidFill>
                <a:latin typeface="Arial" panose="020B0604020202020204" pitchFamily="34" charset="0"/>
                <a:ea typeface="MS PGothic" panose="020B0600070205080204" pitchFamily="34" charset="-128"/>
              </a:defRPr>
            </a:lvl9pPr>
          </a:lstStyle>
          <a:p>
            <a:pPr marL="0" marR="0" lvl="0" indent="0" algn="r" defTabSz="479425" rtl="0" eaLnBrk="1" fontAlgn="base" latinLnBrk="0" hangingPunct="1">
              <a:lnSpc>
                <a:spcPct val="100000"/>
              </a:lnSpc>
              <a:spcBef>
                <a:spcPct val="0"/>
              </a:spcBef>
              <a:spcAft>
                <a:spcPct val="0"/>
              </a:spcAft>
              <a:buClrTx/>
              <a:buSzTx/>
              <a:buFontTx/>
              <a:buNone/>
              <a:tabLst>
                <a:tab pos="0" algn="l"/>
                <a:tab pos="958850" algn="l"/>
                <a:tab pos="1916113" algn="l"/>
                <a:tab pos="2878138" algn="l"/>
                <a:tab pos="3838575" algn="l"/>
                <a:tab pos="4764088" algn="l"/>
                <a:tab pos="5756275" algn="l"/>
                <a:tab pos="6713538" algn="l"/>
                <a:tab pos="7640638" algn="l"/>
                <a:tab pos="8604250" algn="l"/>
                <a:tab pos="9594850" algn="l"/>
                <a:tab pos="10556875" algn="l"/>
              </a:tabLst>
              <a:defRPr/>
            </a:pPr>
            <a:fld id="{7F4F26CB-6FB4-40F6-8A9F-D33D1FE1E561}"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479425" rtl="0" eaLnBrk="1" fontAlgn="base" latinLnBrk="0" hangingPunct="1">
                <a:lnSpc>
                  <a:spcPct val="100000"/>
                </a:lnSpc>
                <a:spcBef>
                  <a:spcPct val="0"/>
                </a:spcBef>
                <a:spcAft>
                  <a:spcPct val="0"/>
                </a:spcAft>
                <a:buClrTx/>
                <a:buSzTx/>
                <a:buFontTx/>
                <a:buNone/>
                <a:tabLst>
                  <a:tab pos="0" algn="l"/>
                  <a:tab pos="958850" algn="l"/>
                  <a:tab pos="1916113" algn="l"/>
                  <a:tab pos="2878138" algn="l"/>
                  <a:tab pos="3838575" algn="l"/>
                  <a:tab pos="4764088" algn="l"/>
                  <a:tab pos="5756275" algn="l"/>
                  <a:tab pos="6713538" algn="l"/>
                  <a:tab pos="7640638" algn="l"/>
                  <a:tab pos="8604250" algn="l"/>
                  <a:tab pos="9594850" algn="l"/>
                  <a:tab pos="10556875" algn="l"/>
                </a:tabLst>
                <a:defRPr/>
              </a:pPr>
              <a:t>17</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3555" name="Rectangle 1"/>
          <p:cNvSpPr>
            <a:spLocks noGrp="1" noRot="1" noChangeAspect="1" noChangeArrowheads="1" noTextEdit="1"/>
          </p:cNvSpPr>
          <p:nvPr>
            <p:ph type="sldImg"/>
          </p:nvPr>
        </p:nvSpPr>
        <p:spPr bwMode="auto">
          <a:xfrm>
            <a:off x="-455613" y="923925"/>
            <a:ext cx="8228013" cy="4629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6" name="Rectangle 2"/>
          <p:cNvSpPr>
            <a:spLocks noGrp="1" noChangeArrowheads="1"/>
          </p:cNvSpPr>
          <p:nvPr>
            <p:ph type="body" idx="1"/>
          </p:nvPr>
        </p:nvSpPr>
        <p:spPr bwMode="auto">
          <a:xfrm>
            <a:off x="731838" y="5864225"/>
            <a:ext cx="5851525" cy="555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numCol="1" anchor="ctr" anchorCtr="0" compatLnSpc="1">
            <a:prstTxWarp prst="textNoShape">
              <a:avLst/>
            </a:prstTxWarp>
          </a:bodyPr>
          <a:lstStyle/>
          <a:p>
            <a:pPr eaLnBrk="1" hangingPunct="1">
              <a:spcBef>
                <a:spcPct val="0"/>
              </a:spcBef>
            </a:pPr>
            <a:r>
              <a:rPr lang="en-US" altLang="en-US"/>
              <a:t>Sat Images including IR</a:t>
            </a:r>
          </a:p>
          <a:p>
            <a:pPr eaLnBrk="1" hangingPunct="1">
              <a:spcBef>
                <a:spcPct val="0"/>
              </a:spcBef>
            </a:pPr>
            <a:r>
              <a:rPr lang="en-US" altLang="en-US"/>
              <a:t>Remote Image Processing for normalized vegetation index (NDVI)</a:t>
            </a:r>
          </a:p>
          <a:p>
            <a:pPr eaLnBrk="1" hangingPunct="1">
              <a:spcBef>
                <a:spcPct val="0"/>
              </a:spcBef>
            </a:pPr>
            <a:r>
              <a:rPr lang="en-US" altLang="en-US"/>
              <a:t>Evapo-transpiration modeling &amp; plant modeling to determine irrigation schedule</a:t>
            </a:r>
          </a:p>
        </p:txBody>
      </p:sp>
      <p:sp>
        <p:nvSpPr>
          <p:cNvPr id="23557" name="Text Box 3"/>
          <p:cNvSpPr txBox="1">
            <a:spLocks noChangeArrowheads="1"/>
          </p:cNvSpPr>
          <p:nvPr/>
        </p:nvSpPr>
        <p:spPr bwMode="auto">
          <a:xfrm>
            <a:off x="4143375" y="11722100"/>
            <a:ext cx="3170238" cy="620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463" tIns="48232" rIns="96463" bIns="48232" anchor="b"/>
          <a:lstStyle>
            <a:lvl1pPr>
              <a:tabLst>
                <a:tab pos="0" algn="l"/>
                <a:tab pos="965200" algn="l"/>
                <a:tab pos="1931988" algn="l"/>
                <a:tab pos="2898775" algn="l"/>
                <a:tab pos="3865563" algn="l"/>
                <a:tab pos="4832350" algn="l"/>
                <a:tab pos="5799138" algn="l"/>
                <a:tab pos="6765925" algn="l"/>
                <a:tab pos="7732713" algn="l"/>
                <a:tab pos="8697913" algn="l"/>
                <a:tab pos="9664700" algn="l"/>
                <a:tab pos="10631488" algn="l"/>
              </a:tabLst>
              <a:defRPr kumimoji="1">
                <a:solidFill>
                  <a:schemeClr val="tx1"/>
                </a:solidFill>
                <a:latin typeface="Arial" panose="020B0604020202020204" pitchFamily="34" charset="0"/>
                <a:ea typeface="MS PGothic" panose="020B0600070205080204" pitchFamily="34" charset="-128"/>
              </a:defRPr>
            </a:lvl1pPr>
            <a:lvl2pPr marL="742950" indent="-285750">
              <a:tabLst>
                <a:tab pos="0" algn="l"/>
                <a:tab pos="965200" algn="l"/>
                <a:tab pos="1931988" algn="l"/>
                <a:tab pos="2898775" algn="l"/>
                <a:tab pos="3865563" algn="l"/>
                <a:tab pos="4832350" algn="l"/>
                <a:tab pos="5799138" algn="l"/>
                <a:tab pos="6765925" algn="l"/>
                <a:tab pos="7732713" algn="l"/>
                <a:tab pos="8697913" algn="l"/>
                <a:tab pos="9664700" algn="l"/>
                <a:tab pos="10631488" algn="l"/>
              </a:tabLst>
              <a:defRPr kumimoji="1">
                <a:solidFill>
                  <a:schemeClr val="tx1"/>
                </a:solidFill>
                <a:latin typeface="Arial" panose="020B0604020202020204" pitchFamily="34" charset="0"/>
                <a:ea typeface="MS PGothic" panose="020B0600070205080204" pitchFamily="34" charset="-128"/>
              </a:defRPr>
            </a:lvl2pPr>
            <a:lvl3pPr marL="1143000" indent="-228600">
              <a:tabLst>
                <a:tab pos="0" algn="l"/>
                <a:tab pos="965200" algn="l"/>
                <a:tab pos="1931988" algn="l"/>
                <a:tab pos="2898775" algn="l"/>
                <a:tab pos="3865563" algn="l"/>
                <a:tab pos="4832350" algn="l"/>
                <a:tab pos="5799138" algn="l"/>
                <a:tab pos="6765925" algn="l"/>
                <a:tab pos="7732713" algn="l"/>
                <a:tab pos="8697913" algn="l"/>
                <a:tab pos="9664700" algn="l"/>
                <a:tab pos="10631488" algn="l"/>
              </a:tabLst>
              <a:defRPr kumimoji="1">
                <a:solidFill>
                  <a:schemeClr val="tx1"/>
                </a:solidFill>
                <a:latin typeface="Arial" panose="020B0604020202020204" pitchFamily="34" charset="0"/>
                <a:ea typeface="MS PGothic" panose="020B0600070205080204" pitchFamily="34" charset="-128"/>
              </a:defRPr>
            </a:lvl3pPr>
            <a:lvl4pPr marL="1600200" indent="-228600">
              <a:tabLst>
                <a:tab pos="0" algn="l"/>
                <a:tab pos="965200" algn="l"/>
                <a:tab pos="1931988" algn="l"/>
                <a:tab pos="2898775" algn="l"/>
                <a:tab pos="3865563" algn="l"/>
                <a:tab pos="4832350" algn="l"/>
                <a:tab pos="5799138" algn="l"/>
                <a:tab pos="6765925" algn="l"/>
                <a:tab pos="7732713" algn="l"/>
                <a:tab pos="8697913" algn="l"/>
                <a:tab pos="9664700" algn="l"/>
                <a:tab pos="10631488" algn="l"/>
              </a:tabLst>
              <a:defRPr kumimoji="1">
                <a:solidFill>
                  <a:schemeClr val="tx1"/>
                </a:solidFill>
                <a:latin typeface="Arial" panose="020B0604020202020204" pitchFamily="34" charset="0"/>
                <a:ea typeface="MS PGothic" panose="020B0600070205080204" pitchFamily="34" charset="-128"/>
              </a:defRPr>
            </a:lvl4pPr>
            <a:lvl5pPr marL="2057400" indent="-228600">
              <a:tabLst>
                <a:tab pos="0" algn="l"/>
                <a:tab pos="965200" algn="l"/>
                <a:tab pos="1931988" algn="l"/>
                <a:tab pos="2898775" algn="l"/>
                <a:tab pos="3865563" algn="l"/>
                <a:tab pos="4832350" algn="l"/>
                <a:tab pos="5799138" algn="l"/>
                <a:tab pos="6765925" algn="l"/>
                <a:tab pos="7732713" algn="l"/>
                <a:tab pos="8697913" algn="l"/>
                <a:tab pos="9664700" algn="l"/>
                <a:tab pos="10631488" algn="l"/>
              </a:tabLst>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tabLst>
                <a:tab pos="0" algn="l"/>
                <a:tab pos="965200" algn="l"/>
                <a:tab pos="1931988" algn="l"/>
                <a:tab pos="2898775" algn="l"/>
                <a:tab pos="3865563" algn="l"/>
                <a:tab pos="4832350" algn="l"/>
                <a:tab pos="5799138" algn="l"/>
                <a:tab pos="6765925" algn="l"/>
                <a:tab pos="7732713" algn="l"/>
                <a:tab pos="8697913" algn="l"/>
                <a:tab pos="9664700" algn="l"/>
                <a:tab pos="10631488" algn="l"/>
              </a:tabLs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tabLst>
                <a:tab pos="0" algn="l"/>
                <a:tab pos="965200" algn="l"/>
                <a:tab pos="1931988" algn="l"/>
                <a:tab pos="2898775" algn="l"/>
                <a:tab pos="3865563" algn="l"/>
                <a:tab pos="4832350" algn="l"/>
                <a:tab pos="5799138" algn="l"/>
                <a:tab pos="6765925" algn="l"/>
                <a:tab pos="7732713" algn="l"/>
                <a:tab pos="8697913" algn="l"/>
                <a:tab pos="9664700" algn="l"/>
                <a:tab pos="10631488" algn="l"/>
              </a:tabLs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tabLst>
                <a:tab pos="0" algn="l"/>
                <a:tab pos="965200" algn="l"/>
                <a:tab pos="1931988" algn="l"/>
                <a:tab pos="2898775" algn="l"/>
                <a:tab pos="3865563" algn="l"/>
                <a:tab pos="4832350" algn="l"/>
                <a:tab pos="5799138" algn="l"/>
                <a:tab pos="6765925" algn="l"/>
                <a:tab pos="7732713" algn="l"/>
                <a:tab pos="8697913" algn="l"/>
                <a:tab pos="9664700" algn="l"/>
                <a:tab pos="10631488" algn="l"/>
              </a:tabLs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tabLst>
                <a:tab pos="0" algn="l"/>
                <a:tab pos="965200" algn="l"/>
                <a:tab pos="1931988" algn="l"/>
                <a:tab pos="2898775" algn="l"/>
                <a:tab pos="3865563" algn="l"/>
                <a:tab pos="4832350" algn="l"/>
                <a:tab pos="5799138" algn="l"/>
                <a:tab pos="6765925" algn="l"/>
                <a:tab pos="7732713" algn="l"/>
                <a:tab pos="8697913" algn="l"/>
                <a:tab pos="9664700" algn="l"/>
                <a:tab pos="10631488" algn="l"/>
              </a:tabLst>
              <a:defRPr kumimoji="1">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tab pos="0" algn="l"/>
                <a:tab pos="965200" algn="l"/>
                <a:tab pos="1931988" algn="l"/>
                <a:tab pos="2898775" algn="l"/>
                <a:tab pos="3865563" algn="l"/>
                <a:tab pos="4832350" algn="l"/>
                <a:tab pos="5799138" algn="l"/>
                <a:tab pos="6765925" algn="l"/>
                <a:tab pos="7732713" algn="l"/>
                <a:tab pos="8697913" algn="l"/>
                <a:tab pos="9664700" algn="l"/>
                <a:tab pos="10631488" algn="l"/>
              </a:tabLst>
              <a:defRPr/>
            </a:pPr>
            <a:fld id="{60B1D2A6-3537-431A-83F5-B9C05D8A68EA}" type="slidenum">
              <a:rPr kumimoji="1"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tab pos="0" algn="l"/>
                  <a:tab pos="965200" algn="l"/>
                  <a:tab pos="1931988" algn="l"/>
                  <a:tab pos="2898775" algn="l"/>
                  <a:tab pos="3865563" algn="l"/>
                  <a:tab pos="4832350" algn="l"/>
                  <a:tab pos="5799138" algn="l"/>
                  <a:tab pos="6765925" algn="l"/>
                  <a:tab pos="7732713" algn="l"/>
                  <a:tab pos="8697913" algn="l"/>
                  <a:tab pos="9664700" algn="l"/>
                  <a:tab pos="10631488" algn="l"/>
                </a:tabLst>
                <a:defRPr/>
              </a:pPr>
              <a:t>17</a:t>
            </a:fld>
            <a:endParaRPr kumimoji="1" lang="en-US" altLang="en-US" sz="12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4058902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bwMode="auto">
          <a:xfrm>
            <a:off x="-98425" y="-287338"/>
            <a:ext cx="196850" cy="35242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9" tIns="48329" rIns="96659" bIns="48329"/>
          <a:lstStyle>
            <a:lvl1pPr defTabSz="479425">
              <a:tabLst>
                <a:tab pos="0" algn="l"/>
                <a:tab pos="958850" algn="l"/>
                <a:tab pos="1916113" algn="l"/>
                <a:tab pos="2878138" algn="l"/>
                <a:tab pos="3838575" algn="l"/>
                <a:tab pos="4764088" algn="l"/>
                <a:tab pos="5756275" algn="l"/>
                <a:tab pos="6713538" algn="l"/>
                <a:tab pos="7640638" algn="l"/>
                <a:tab pos="8604250" algn="l"/>
                <a:tab pos="9594850" algn="l"/>
                <a:tab pos="10556875" algn="l"/>
              </a:tabLst>
              <a:defRPr kumimoji="1">
                <a:solidFill>
                  <a:schemeClr val="tx1"/>
                </a:solidFill>
                <a:latin typeface="Arial" panose="020B0604020202020204" pitchFamily="34" charset="0"/>
                <a:ea typeface="MS PGothic" panose="020B0600070205080204" pitchFamily="34" charset="-128"/>
              </a:defRPr>
            </a:lvl1pPr>
            <a:lvl2pPr marL="742950" indent="-285750" defTabSz="479425">
              <a:tabLst>
                <a:tab pos="0" algn="l"/>
                <a:tab pos="958850" algn="l"/>
                <a:tab pos="1916113" algn="l"/>
                <a:tab pos="2878138" algn="l"/>
                <a:tab pos="3838575" algn="l"/>
                <a:tab pos="4764088" algn="l"/>
                <a:tab pos="5756275" algn="l"/>
                <a:tab pos="6713538" algn="l"/>
                <a:tab pos="7640638" algn="l"/>
                <a:tab pos="8604250" algn="l"/>
                <a:tab pos="9594850" algn="l"/>
                <a:tab pos="10556875" algn="l"/>
              </a:tabLst>
              <a:defRPr kumimoji="1">
                <a:solidFill>
                  <a:schemeClr val="tx1"/>
                </a:solidFill>
                <a:latin typeface="Arial" panose="020B0604020202020204" pitchFamily="34" charset="0"/>
                <a:ea typeface="MS PGothic" panose="020B0600070205080204" pitchFamily="34" charset="-128"/>
              </a:defRPr>
            </a:lvl2pPr>
            <a:lvl3pPr marL="1143000" indent="-228600" defTabSz="479425">
              <a:tabLst>
                <a:tab pos="0" algn="l"/>
                <a:tab pos="958850" algn="l"/>
                <a:tab pos="1916113" algn="l"/>
                <a:tab pos="2878138" algn="l"/>
                <a:tab pos="3838575" algn="l"/>
                <a:tab pos="4764088" algn="l"/>
                <a:tab pos="5756275" algn="l"/>
                <a:tab pos="6713538" algn="l"/>
                <a:tab pos="7640638" algn="l"/>
                <a:tab pos="8604250" algn="l"/>
                <a:tab pos="9594850" algn="l"/>
                <a:tab pos="10556875" algn="l"/>
              </a:tabLst>
              <a:defRPr kumimoji="1">
                <a:solidFill>
                  <a:schemeClr val="tx1"/>
                </a:solidFill>
                <a:latin typeface="Arial" panose="020B0604020202020204" pitchFamily="34" charset="0"/>
                <a:ea typeface="MS PGothic" panose="020B0600070205080204" pitchFamily="34" charset="-128"/>
              </a:defRPr>
            </a:lvl3pPr>
            <a:lvl4pPr marL="1600200" indent="-228600" defTabSz="479425">
              <a:tabLst>
                <a:tab pos="0" algn="l"/>
                <a:tab pos="958850" algn="l"/>
                <a:tab pos="1916113" algn="l"/>
                <a:tab pos="2878138" algn="l"/>
                <a:tab pos="3838575" algn="l"/>
                <a:tab pos="4764088" algn="l"/>
                <a:tab pos="5756275" algn="l"/>
                <a:tab pos="6713538" algn="l"/>
                <a:tab pos="7640638" algn="l"/>
                <a:tab pos="8604250" algn="l"/>
                <a:tab pos="9594850" algn="l"/>
                <a:tab pos="10556875" algn="l"/>
              </a:tabLst>
              <a:defRPr kumimoji="1">
                <a:solidFill>
                  <a:schemeClr val="tx1"/>
                </a:solidFill>
                <a:latin typeface="Arial" panose="020B0604020202020204" pitchFamily="34" charset="0"/>
                <a:ea typeface="MS PGothic" panose="020B0600070205080204" pitchFamily="34" charset="-128"/>
              </a:defRPr>
            </a:lvl4pPr>
            <a:lvl5pPr marL="2057400" indent="-228600" defTabSz="479425">
              <a:tabLst>
                <a:tab pos="0" algn="l"/>
                <a:tab pos="958850" algn="l"/>
                <a:tab pos="1916113" algn="l"/>
                <a:tab pos="2878138" algn="l"/>
                <a:tab pos="3838575" algn="l"/>
                <a:tab pos="4764088" algn="l"/>
                <a:tab pos="5756275" algn="l"/>
                <a:tab pos="6713538" algn="l"/>
                <a:tab pos="7640638" algn="l"/>
                <a:tab pos="8604250" algn="l"/>
                <a:tab pos="9594850" algn="l"/>
                <a:tab pos="10556875" algn="l"/>
              </a:tabLst>
              <a:defRPr kumimoji="1">
                <a:solidFill>
                  <a:schemeClr val="tx1"/>
                </a:solidFill>
                <a:latin typeface="Arial" panose="020B0604020202020204" pitchFamily="34" charset="0"/>
                <a:ea typeface="MS PGothic" panose="020B0600070205080204" pitchFamily="34" charset="-128"/>
              </a:defRPr>
            </a:lvl5pPr>
            <a:lvl6pPr marL="2514600" indent="-228600" defTabSz="479425" eaLnBrk="0" fontAlgn="base" hangingPunct="0">
              <a:spcBef>
                <a:spcPct val="0"/>
              </a:spcBef>
              <a:spcAft>
                <a:spcPct val="0"/>
              </a:spcAft>
              <a:tabLst>
                <a:tab pos="0" algn="l"/>
                <a:tab pos="958850" algn="l"/>
                <a:tab pos="1916113" algn="l"/>
                <a:tab pos="2878138" algn="l"/>
                <a:tab pos="3838575" algn="l"/>
                <a:tab pos="4764088" algn="l"/>
                <a:tab pos="5756275" algn="l"/>
                <a:tab pos="6713538" algn="l"/>
                <a:tab pos="7640638" algn="l"/>
                <a:tab pos="8604250" algn="l"/>
                <a:tab pos="9594850" algn="l"/>
                <a:tab pos="10556875" algn="l"/>
              </a:tabLst>
              <a:defRPr kumimoji="1">
                <a:solidFill>
                  <a:schemeClr val="tx1"/>
                </a:solidFill>
                <a:latin typeface="Arial" panose="020B0604020202020204" pitchFamily="34" charset="0"/>
                <a:ea typeface="MS PGothic" panose="020B0600070205080204" pitchFamily="34" charset="-128"/>
              </a:defRPr>
            </a:lvl6pPr>
            <a:lvl7pPr marL="2971800" indent="-228600" defTabSz="479425" eaLnBrk="0" fontAlgn="base" hangingPunct="0">
              <a:spcBef>
                <a:spcPct val="0"/>
              </a:spcBef>
              <a:spcAft>
                <a:spcPct val="0"/>
              </a:spcAft>
              <a:tabLst>
                <a:tab pos="0" algn="l"/>
                <a:tab pos="958850" algn="l"/>
                <a:tab pos="1916113" algn="l"/>
                <a:tab pos="2878138" algn="l"/>
                <a:tab pos="3838575" algn="l"/>
                <a:tab pos="4764088" algn="l"/>
                <a:tab pos="5756275" algn="l"/>
                <a:tab pos="6713538" algn="l"/>
                <a:tab pos="7640638" algn="l"/>
                <a:tab pos="8604250" algn="l"/>
                <a:tab pos="9594850" algn="l"/>
                <a:tab pos="10556875" algn="l"/>
              </a:tabLst>
              <a:defRPr kumimoji="1">
                <a:solidFill>
                  <a:schemeClr val="tx1"/>
                </a:solidFill>
                <a:latin typeface="Arial" panose="020B0604020202020204" pitchFamily="34" charset="0"/>
                <a:ea typeface="MS PGothic" panose="020B0600070205080204" pitchFamily="34" charset="-128"/>
              </a:defRPr>
            </a:lvl7pPr>
            <a:lvl8pPr marL="3429000" indent="-228600" defTabSz="479425" eaLnBrk="0" fontAlgn="base" hangingPunct="0">
              <a:spcBef>
                <a:spcPct val="0"/>
              </a:spcBef>
              <a:spcAft>
                <a:spcPct val="0"/>
              </a:spcAft>
              <a:tabLst>
                <a:tab pos="0" algn="l"/>
                <a:tab pos="958850" algn="l"/>
                <a:tab pos="1916113" algn="l"/>
                <a:tab pos="2878138" algn="l"/>
                <a:tab pos="3838575" algn="l"/>
                <a:tab pos="4764088" algn="l"/>
                <a:tab pos="5756275" algn="l"/>
                <a:tab pos="6713538" algn="l"/>
                <a:tab pos="7640638" algn="l"/>
                <a:tab pos="8604250" algn="l"/>
                <a:tab pos="9594850" algn="l"/>
                <a:tab pos="10556875" algn="l"/>
              </a:tabLst>
              <a:defRPr kumimoji="1">
                <a:solidFill>
                  <a:schemeClr val="tx1"/>
                </a:solidFill>
                <a:latin typeface="Arial" panose="020B0604020202020204" pitchFamily="34" charset="0"/>
                <a:ea typeface="MS PGothic" panose="020B0600070205080204" pitchFamily="34" charset="-128"/>
              </a:defRPr>
            </a:lvl8pPr>
            <a:lvl9pPr marL="3886200" indent="-228600" defTabSz="479425" eaLnBrk="0" fontAlgn="base" hangingPunct="0">
              <a:spcBef>
                <a:spcPct val="0"/>
              </a:spcBef>
              <a:spcAft>
                <a:spcPct val="0"/>
              </a:spcAft>
              <a:tabLst>
                <a:tab pos="0" algn="l"/>
                <a:tab pos="958850" algn="l"/>
                <a:tab pos="1916113" algn="l"/>
                <a:tab pos="2878138" algn="l"/>
                <a:tab pos="3838575" algn="l"/>
                <a:tab pos="4764088" algn="l"/>
                <a:tab pos="5756275" algn="l"/>
                <a:tab pos="6713538" algn="l"/>
                <a:tab pos="7640638" algn="l"/>
                <a:tab pos="8604250" algn="l"/>
                <a:tab pos="9594850" algn="l"/>
                <a:tab pos="10556875" algn="l"/>
              </a:tabLst>
              <a:defRPr kumimoji="1">
                <a:solidFill>
                  <a:schemeClr val="tx1"/>
                </a:solidFill>
                <a:latin typeface="Arial" panose="020B0604020202020204" pitchFamily="34" charset="0"/>
                <a:ea typeface="MS PGothic" panose="020B0600070205080204" pitchFamily="34" charset="-128"/>
              </a:defRPr>
            </a:lvl9pPr>
          </a:lstStyle>
          <a:p>
            <a:pPr marL="0" marR="0" lvl="0" indent="0" algn="r" defTabSz="479425" rtl="0" eaLnBrk="1" fontAlgn="base" latinLnBrk="0" hangingPunct="1">
              <a:lnSpc>
                <a:spcPct val="100000"/>
              </a:lnSpc>
              <a:spcBef>
                <a:spcPct val="0"/>
              </a:spcBef>
              <a:spcAft>
                <a:spcPct val="0"/>
              </a:spcAft>
              <a:buClrTx/>
              <a:buSzTx/>
              <a:buFontTx/>
              <a:buNone/>
              <a:tabLst>
                <a:tab pos="0" algn="l"/>
                <a:tab pos="958850" algn="l"/>
                <a:tab pos="1916113" algn="l"/>
                <a:tab pos="2878138" algn="l"/>
                <a:tab pos="3838575" algn="l"/>
                <a:tab pos="4764088" algn="l"/>
                <a:tab pos="5756275" algn="l"/>
                <a:tab pos="6713538" algn="l"/>
                <a:tab pos="7640638" algn="l"/>
                <a:tab pos="8604250" algn="l"/>
                <a:tab pos="9594850" algn="l"/>
                <a:tab pos="10556875" algn="l"/>
              </a:tabLst>
              <a:defRPr/>
            </a:pPr>
            <a:fld id="{65C30A5A-6A98-4040-BA77-AB3C0B616904}"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479425" rtl="0" eaLnBrk="1" fontAlgn="base" latinLnBrk="0" hangingPunct="1">
                <a:lnSpc>
                  <a:spcPct val="100000"/>
                </a:lnSpc>
                <a:spcBef>
                  <a:spcPct val="0"/>
                </a:spcBef>
                <a:spcAft>
                  <a:spcPct val="0"/>
                </a:spcAft>
                <a:buClrTx/>
                <a:buSzTx/>
                <a:buFontTx/>
                <a:buNone/>
                <a:tabLst>
                  <a:tab pos="0" algn="l"/>
                  <a:tab pos="958850" algn="l"/>
                  <a:tab pos="1916113" algn="l"/>
                  <a:tab pos="2878138" algn="l"/>
                  <a:tab pos="3838575" algn="l"/>
                  <a:tab pos="4764088" algn="l"/>
                  <a:tab pos="5756275" algn="l"/>
                  <a:tab pos="6713538" algn="l"/>
                  <a:tab pos="7640638" algn="l"/>
                  <a:tab pos="8604250" algn="l"/>
                  <a:tab pos="9594850" algn="l"/>
                  <a:tab pos="10556875" algn="l"/>
                </a:tabLst>
                <a:defRPr/>
              </a:pPr>
              <a:t>18</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5603" name="Rectangle 1"/>
          <p:cNvSpPr>
            <a:spLocks noGrp="1" noRot="1" noChangeAspect="1" noChangeArrowheads="1" noTextEdit="1"/>
          </p:cNvSpPr>
          <p:nvPr>
            <p:ph type="sldImg"/>
          </p:nvPr>
        </p:nvSpPr>
        <p:spPr bwMode="auto">
          <a:xfrm>
            <a:off x="-455613" y="923925"/>
            <a:ext cx="8228013" cy="4629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4" name="Rectangle 2"/>
          <p:cNvSpPr>
            <a:spLocks noGrp="1" noChangeArrowheads="1"/>
          </p:cNvSpPr>
          <p:nvPr>
            <p:ph type="body" idx="1"/>
          </p:nvPr>
        </p:nvSpPr>
        <p:spPr bwMode="auto">
          <a:xfrm>
            <a:off x="731838" y="5864225"/>
            <a:ext cx="5851525" cy="555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numCol="1" anchor="ctr" anchorCtr="0" compatLnSpc="1">
            <a:prstTxWarp prst="textNoShape">
              <a:avLst/>
            </a:prstTxWarp>
          </a:bodyPr>
          <a:lstStyle/>
          <a:p>
            <a:pPr eaLnBrk="1" hangingPunct="1">
              <a:spcBef>
                <a:spcPct val="0"/>
              </a:spcBef>
            </a:pPr>
            <a:r>
              <a:rPr lang="en-US" altLang="en-US"/>
              <a:t>Sat Images including IR</a:t>
            </a:r>
          </a:p>
          <a:p>
            <a:pPr eaLnBrk="1" hangingPunct="1">
              <a:spcBef>
                <a:spcPct val="0"/>
              </a:spcBef>
            </a:pPr>
            <a:r>
              <a:rPr lang="en-US" altLang="en-US"/>
              <a:t>Remote Image Processing for normalized vegetation index (NDVI)</a:t>
            </a:r>
          </a:p>
          <a:p>
            <a:pPr eaLnBrk="1" hangingPunct="1">
              <a:spcBef>
                <a:spcPct val="0"/>
              </a:spcBef>
            </a:pPr>
            <a:r>
              <a:rPr lang="en-US" altLang="en-US"/>
              <a:t>Evapo-transpiration modeling &amp; plant modeling to determine irrigation schedule</a:t>
            </a:r>
          </a:p>
        </p:txBody>
      </p:sp>
      <p:sp>
        <p:nvSpPr>
          <p:cNvPr id="25605" name="Text Box 3"/>
          <p:cNvSpPr txBox="1">
            <a:spLocks noChangeArrowheads="1"/>
          </p:cNvSpPr>
          <p:nvPr/>
        </p:nvSpPr>
        <p:spPr bwMode="auto">
          <a:xfrm>
            <a:off x="4143375" y="11722100"/>
            <a:ext cx="3170238" cy="620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463" tIns="48232" rIns="96463" bIns="48232" anchor="b"/>
          <a:lstStyle>
            <a:lvl1pPr>
              <a:tabLst>
                <a:tab pos="0" algn="l"/>
                <a:tab pos="965200" algn="l"/>
                <a:tab pos="1931988" algn="l"/>
                <a:tab pos="2898775" algn="l"/>
                <a:tab pos="3865563" algn="l"/>
                <a:tab pos="4832350" algn="l"/>
                <a:tab pos="5799138" algn="l"/>
                <a:tab pos="6765925" algn="l"/>
                <a:tab pos="7732713" algn="l"/>
                <a:tab pos="8697913" algn="l"/>
                <a:tab pos="9664700" algn="l"/>
                <a:tab pos="10631488" algn="l"/>
              </a:tabLst>
              <a:defRPr kumimoji="1">
                <a:solidFill>
                  <a:schemeClr val="tx1"/>
                </a:solidFill>
                <a:latin typeface="Arial" panose="020B0604020202020204" pitchFamily="34" charset="0"/>
                <a:ea typeface="MS PGothic" panose="020B0600070205080204" pitchFamily="34" charset="-128"/>
              </a:defRPr>
            </a:lvl1pPr>
            <a:lvl2pPr marL="742950" indent="-285750">
              <a:tabLst>
                <a:tab pos="0" algn="l"/>
                <a:tab pos="965200" algn="l"/>
                <a:tab pos="1931988" algn="l"/>
                <a:tab pos="2898775" algn="l"/>
                <a:tab pos="3865563" algn="l"/>
                <a:tab pos="4832350" algn="l"/>
                <a:tab pos="5799138" algn="l"/>
                <a:tab pos="6765925" algn="l"/>
                <a:tab pos="7732713" algn="l"/>
                <a:tab pos="8697913" algn="l"/>
                <a:tab pos="9664700" algn="l"/>
                <a:tab pos="10631488" algn="l"/>
              </a:tabLst>
              <a:defRPr kumimoji="1">
                <a:solidFill>
                  <a:schemeClr val="tx1"/>
                </a:solidFill>
                <a:latin typeface="Arial" panose="020B0604020202020204" pitchFamily="34" charset="0"/>
                <a:ea typeface="MS PGothic" panose="020B0600070205080204" pitchFamily="34" charset="-128"/>
              </a:defRPr>
            </a:lvl2pPr>
            <a:lvl3pPr marL="1143000" indent="-228600">
              <a:tabLst>
                <a:tab pos="0" algn="l"/>
                <a:tab pos="965200" algn="l"/>
                <a:tab pos="1931988" algn="l"/>
                <a:tab pos="2898775" algn="l"/>
                <a:tab pos="3865563" algn="l"/>
                <a:tab pos="4832350" algn="l"/>
                <a:tab pos="5799138" algn="l"/>
                <a:tab pos="6765925" algn="l"/>
                <a:tab pos="7732713" algn="l"/>
                <a:tab pos="8697913" algn="l"/>
                <a:tab pos="9664700" algn="l"/>
                <a:tab pos="10631488" algn="l"/>
              </a:tabLst>
              <a:defRPr kumimoji="1">
                <a:solidFill>
                  <a:schemeClr val="tx1"/>
                </a:solidFill>
                <a:latin typeface="Arial" panose="020B0604020202020204" pitchFamily="34" charset="0"/>
                <a:ea typeface="MS PGothic" panose="020B0600070205080204" pitchFamily="34" charset="-128"/>
              </a:defRPr>
            </a:lvl3pPr>
            <a:lvl4pPr marL="1600200" indent="-228600">
              <a:tabLst>
                <a:tab pos="0" algn="l"/>
                <a:tab pos="965200" algn="l"/>
                <a:tab pos="1931988" algn="l"/>
                <a:tab pos="2898775" algn="l"/>
                <a:tab pos="3865563" algn="l"/>
                <a:tab pos="4832350" algn="l"/>
                <a:tab pos="5799138" algn="l"/>
                <a:tab pos="6765925" algn="l"/>
                <a:tab pos="7732713" algn="l"/>
                <a:tab pos="8697913" algn="l"/>
                <a:tab pos="9664700" algn="l"/>
                <a:tab pos="10631488" algn="l"/>
              </a:tabLst>
              <a:defRPr kumimoji="1">
                <a:solidFill>
                  <a:schemeClr val="tx1"/>
                </a:solidFill>
                <a:latin typeface="Arial" panose="020B0604020202020204" pitchFamily="34" charset="0"/>
                <a:ea typeface="MS PGothic" panose="020B0600070205080204" pitchFamily="34" charset="-128"/>
              </a:defRPr>
            </a:lvl4pPr>
            <a:lvl5pPr marL="2057400" indent="-228600">
              <a:tabLst>
                <a:tab pos="0" algn="l"/>
                <a:tab pos="965200" algn="l"/>
                <a:tab pos="1931988" algn="l"/>
                <a:tab pos="2898775" algn="l"/>
                <a:tab pos="3865563" algn="l"/>
                <a:tab pos="4832350" algn="l"/>
                <a:tab pos="5799138" algn="l"/>
                <a:tab pos="6765925" algn="l"/>
                <a:tab pos="7732713" algn="l"/>
                <a:tab pos="8697913" algn="l"/>
                <a:tab pos="9664700" algn="l"/>
                <a:tab pos="10631488" algn="l"/>
              </a:tabLst>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tabLst>
                <a:tab pos="0" algn="l"/>
                <a:tab pos="965200" algn="l"/>
                <a:tab pos="1931988" algn="l"/>
                <a:tab pos="2898775" algn="l"/>
                <a:tab pos="3865563" algn="l"/>
                <a:tab pos="4832350" algn="l"/>
                <a:tab pos="5799138" algn="l"/>
                <a:tab pos="6765925" algn="l"/>
                <a:tab pos="7732713" algn="l"/>
                <a:tab pos="8697913" algn="l"/>
                <a:tab pos="9664700" algn="l"/>
                <a:tab pos="10631488" algn="l"/>
              </a:tabLs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tabLst>
                <a:tab pos="0" algn="l"/>
                <a:tab pos="965200" algn="l"/>
                <a:tab pos="1931988" algn="l"/>
                <a:tab pos="2898775" algn="l"/>
                <a:tab pos="3865563" algn="l"/>
                <a:tab pos="4832350" algn="l"/>
                <a:tab pos="5799138" algn="l"/>
                <a:tab pos="6765925" algn="l"/>
                <a:tab pos="7732713" algn="l"/>
                <a:tab pos="8697913" algn="l"/>
                <a:tab pos="9664700" algn="l"/>
                <a:tab pos="10631488" algn="l"/>
              </a:tabLs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tabLst>
                <a:tab pos="0" algn="l"/>
                <a:tab pos="965200" algn="l"/>
                <a:tab pos="1931988" algn="l"/>
                <a:tab pos="2898775" algn="l"/>
                <a:tab pos="3865563" algn="l"/>
                <a:tab pos="4832350" algn="l"/>
                <a:tab pos="5799138" algn="l"/>
                <a:tab pos="6765925" algn="l"/>
                <a:tab pos="7732713" algn="l"/>
                <a:tab pos="8697913" algn="l"/>
                <a:tab pos="9664700" algn="l"/>
                <a:tab pos="10631488" algn="l"/>
              </a:tabLs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tabLst>
                <a:tab pos="0" algn="l"/>
                <a:tab pos="965200" algn="l"/>
                <a:tab pos="1931988" algn="l"/>
                <a:tab pos="2898775" algn="l"/>
                <a:tab pos="3865563" algn="l"/>
                <a:tab pos="4832350" algn="l"/>
                <a:tab pos="5799138" algn="l"/>
                <a:tab pos="6765925" algn="l"/>
                <a:tab pos="7732713" algn="l"/>
                <a:tab pos="8697913" algn="l"/>
                <a:tab pos="9664700" algn="l"/>
                <a:tab pos="10631488" algn="l"/>
              </a:tabLst>
              <a:defRPr kumimoji="1">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tab pos="0" algn="l"/>
                <a:tab pos="965200" algn="l"/>
                <a:tab pos="1931988" algn="l"/>
                <a:tab pos="2898775" algn="l"/>
                <a:tab pos="3865563" algn="l"/>
                <a:tab pos="4832350" algn="l"/>
                <a:tab pos="5799138" algn="l"/>
                <a:tab pos="6765925" algn="l"/>
                <a:tab pos="7732713" algn="l"/>
                <a:tab pos="8697913" algn="l"/>
                <a:tab pos="9664700" algn="l"/>
                <a:tab pos="10631488" algn="l"/>
              </a:tabLst>
              <a:defRPr/>
            </a:pPr>
            <a:fld id="{7AC7D25B-7765-41E5-9FED-7E853567A0A4}" type="slidenum">
              <a:rPr kumimoji="1"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tab pos="0" algn="l"/>
                  <a:tab pos="965200" algn="l"/>
                  <a:tab pos="1931988" algn="l"/>
                  <a:tab pos="2898775" algn="l"/>
                  <a:tab pos="3865563" algn="l"/>
                  <a:tab pos="4832350" algn="l"/>
                  <a:tab pos="5799138" algn="l"/>
                  <a:tab pos="6765925" algn="l"/>
                  <a:tab pos="7732713" algn="l"/>
                  <a:tab pos="8697913" algn="l"/>
                  <a:tab pos="9664700" algn="l"/>
                  <a:tab pos="10631488" algn="l"/>
                </a:tabLst>
                <a:defRPr/>
              </a:pPr>
              <a:t>18</a:t>
            </a:fld>
            <a:endParaRPr kumimoji="1" lang="en-US" altLang="en-US" sz="12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23632297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76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B9DDFE2-C5E7-483E-821F-516CA6C5F6D9}"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4491120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urjoy to Russ:</a:t>
            </a:r>
          </a:p>
          <a:p>
            <a:r>
              <a:rPr lang="en-US" b="0" dirty="0"/>
              <a:t>We have had some great discussions</a:t>
            </a:r>
            <a:r>
              <a:rPr lang="en-US" b="0" baseline="0" dirty="0"/>
              <a:t> today and I want to wrap up but saying no one comes close to what we deliver at The Weather Company.  We are the most precise, accurate and timely provider of weather data in the market.    I would like to talk about next steps Russ and how we can help your organization.  I would like to propose a follow-up meeting for next Thursday so my team can spend 2 hours with your team to do an interactive workshop. I would like to show your team the value weather can bring to your organization and how IBM differentiates itself in the market with respect to our unique capabilities around precision, speed and accuracy of weather data.   What do you say?</a:t>
            </a:r>
          </a:p>
          <a:p>
            <a:endParaRPr lang="en-US" b="1" baseline="0" dirty="0"/>
          </a:p>
          <a:p>
            <a:r>
              <a:rPr lang="en-US" b="1" baseline="0" dirty="0"/>
              <a:t>Russ:</a:t>
            </a:r>
          </a:p>
          <a:p>
            <a:r>
              <a:rPr lang="en-US" b="0" baseline="0" dirty="0"/>
              <a:t>Excellent.  That sounds like a great next step.  I will check with my team for next Thursday and get back to you tomorrow.</a:t>
            </a:r>
          </a:p>
          <a:p>
            <a:endParaRPr lang="en-US" b="1" baseline="0" dirty="0"/>
          </a:p>
          <a:p>
            <a:endParaRPr lang="en-US" b="1" baseline="0" dirty="0"/>
          </a:p>
        </p:txBody>
      </p:sp>
      <p:sp>
        <p:nvSpPr>
          <p:cNvPr id="4" name="Slide Number Placeholder 3"/>
          <p:cNvSpPr>
            <a:spLocks noGrp="1"/>
          </p:cNvSpPr>
          <p:nvPr>
            <p:ph type="sldNum" sz="quarter" idx="10"/>
          </p:nvPr>
        </p:nvSpPr>
        <p:spPr/>
        <p:txBody>
          <a:bodyPr/>
          <a:lstStyle/>
          <a:p>
            <a:fld id="{B50F86D4-1C2B-429E-8126-E822CC343766}" type="slidenum">
              <a:rPr lang="en-US" smtClean="0"/>
              <a:t>20</a:t>
            </a:fld>
            <a:endParaRPr lang="en-US" dirty="0"/>
          </a:p>
        </p:txBody>
      </p:sp>
    </p:spTree>
    <p:extLst>
      <p:ext uri="{BB962C8B-B14F-4D97-AF65-F5344CB8AC3E}">
        <p14:creationId xmlns:p14="http://schemas.microsoft.com/office/powerpoint/2010/main" val="2364884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Notes Placeholder 2"/>
          <p:cNvSpPr>
            <a:spLocks noGrp="1"/>
          </p:cNvSpPr>
          <p:nvPr>
            <p:ph type="body" idx="1"/>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33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MS PGothic" panose="020B0600070205080204" pitchFamily="34" charset="-128"/>
              </a:defRPr>
            </a:lvl1pPr>
            <a:lvl2pPr marL="796925" indent="-306388">
              <a:defRPr kumimoji="1">
                <a:solidFill>
                  <a:schemeClr val="tx1"/>
                </a:solidFill>
                <a:latin typeface="Arial" panose="020B0604020202020204" pitchFamily="34" charset="0"/>
                <a:ea typeface="MS PGothic" panose="020B0600070205080204" pitchFamily="34" charset="-128"/>
              </a:defRPr>
            </a:lvl2pPr>
            <a:lvl3pPr marL="1228725" indent="-244475">
              <a:defRPr kumimoji="1">
                <a:solidFill>
                  <a:schemeClr val="tx1"/>
                </a:solidFill>
                <a:latin typeface="Arial" panose="020B0604020202020204" pitchFamily="34" charset="0"/>
                <a:ea typeface="MS PGothic" panose="020B0600070205080204" pitchFamily="34" charset="-128"/>
              </a:defRPr>
            </a:lvl3pPr>
            <a:lvl4pPr marL="1719263" indent="-244475">
              <a:defRPr kumimoji="1">
                <a:solidFill>
                  <a:schemeClr val="tx1"/>
                </a:solidFill>
                <a:latin typeface="Arial" panose="020B0604020202020204" pitchFamily="34" charset="0"/>
                <a:ea typeface="MS PGothic" panose="020B0600070205080204" pitchFamily="34" charset="-128"/>
              </a:defRPr>
            </a:lvl4pPr>
            <a:lvl5pPr marL="2211388" indent="-244475">
              <a:defRPr kumimoji="1">
                <a:solidFill>
                  <a:schemeClr val="tx1"/>
                </a:solidFill>
                <a:latin typeface="Arial" panose="020B0604020202020204" pitchFamily="34" charset="0"/>
                <a:ea typeface="MS PGothic" panose="020B0600070205080204" pitchFamily="34" charset="-128"/>
              </a:defRPr>
            </a:lvl5pPr>
            <a:lvl6pPr marL="2668588" indent="-244475"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3125788" indent="-244475"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582988" indent="-244475"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4040188" indent="-244475"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920F394-64DC-45FE-B0BF-7C6450833983}" type="slidenum">
              <a:rPr kumimoji="0" lang="en-US" altLang="en-US" sz="13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altLang="en-US" sz="13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644228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defRPr>
            </a:lvl1pPr>
            <a:lvl2pPr marL="754364" indent="-290018" eaLnBrk="0" hangingPunct="0">
              <a:spcBef>
                <a:spcPct val="30000"/>
              </a:spcBef>
              <a:defRPr sz="1200">
                <a:solidFill>
                  <a:schemeClr val="tx1"/>
                </a:solidFill>
                <a:latin typeface="Calibri" pitchFamily="34" charset="0"/>
              </a:defRPr>
            </a:lvl2pPr>
            <a:lvl3pPr marL="1161657" indent="-231380" eaLnBrk="0" hangingPunct="0">
              <a:spcBef>
                <a:spcPct val="30000"/>
              </a:spcBef>
              <a:defRPr sz="1200">
                <a:solidFill>
                  <a:schemeClr val="tx1"/>
                </a:solidFill>
                <a:latin typeface="Calibri" pitchFamily="34" charset="0"/>
              </a:defRPr>
            </a:lvl3pPr>
            <a:lvl4pPr marL="1627588" indent="-231380" eaLnBrk="0" hangingPunct="0">
              <a:spcBef>
                <a:spcPct val="30000"/>
              </a:spcBef>
              <a:defRPr sz="1200">
                <a:solidFill>
                  <a:schemeClr val="tx1"/>
                </a:solidFill>
                <a:latin typeface="Calibri" pitchFamily="34" charset="0"/>
              </a:defRPr>
            </a:lvl4pPr>
            <a:lvl5pPr marL="2091932" indent="-231380" eaLnBrk="0" hangingPunct="0">
              <a:spcBef>
                <a:spcPct val="30000"/>
              </a:spcBef>
              <a:defRPr sz="1200">
                <a:solidFill>
                  <a:schemeClr val="tx1"/>
                </a:solidFill>
                <a:latin typeface="Calibri" pitchFamily="34" charset="0"/>
              </a:defRPr>
            </a:lvl5pPr>
            <a:lvl6pPr marL="2548354" indent="-231380" eaLnBrk="0" fontAlgn="base" hangingPunct="0">
              <a:spcBef>
                <a:spcPct val="30000"/>
              </a:spcBef>
              <a:spcAft>
                <a:spcPct val="0"/>
              </a:spcAft>
              <a:defRPr sz="1200">
                <a:solidFill>
                  <a:schemeClr val="tx1"/>
                </a:solidFill>
                <a:latin typeface="Calibri" pitchFamily="34" charset="0"/>
              </a:defRPr>
            </a:lvl6pPr>
            <a:lvl7pPr marL="3004775" indent="-231380" eaLnBrk="0" fontAlgn="base" hangingPunct="0">
              <a:spcBef>
                <a:spcPct val="30000"/>
              </a:spcBef>
              <a:spcAft>
                <a:spcPct val="0"/>
              </a:spcAft>
              <a:defRPr sz="1200">
                <a:solidFill>
                  <a:schemeClr val="tx1"/>
                </a:solidFill>
                <a:latin typeface="Calibri" pitchFamily="34" charset="0"/>
              </a:defRPr>
            </a:lvl7pPr>
            <a:lvl8pPr marL="3461197" indent="-231380" eaLnBrk="0" fontAlgn="base" hangingPunct="0">
              <a:spcBef>
                <a:spcPct val="30000"/>
              </a:spcBef>
              <a:spcAft>
                <a:spcPct val="0"/>
              </a:spcAft>
              <a:defRPr sz="1200">
                <a:solidFill>
                  <a:schemeClr val="tx1"/>
                </a:solidFill>
                <a:latin typeface="Calibri" pitchFamily="34" charset="0"/>
              </a:defRPr>
            </a:lvl8pPr>
            <a:lvl9pPr marL="3917619" indent="-231380" eaLnBrk="0" fontAlgn="base" hangingPunct="0">
              <a:spcBef>
                <a:spcPct val="30000"/>
              </a:spcBef>
              <a:spcAft>
                <a:spcPct val="0"/>
              </a:spcAft>
              <a:defRPr sz="1200">
                <a:solidFill>
                  <a:schemeClr val="tx1"/>
                </a:solidFill>
                <a:latin typeface="Calibri"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C8697910-3E51-49CA-BC22-B62CF9D42B9E}" type="slidenum">
              <a:rPr kumimoji="0" lang="en-US" altLang="en-US" sz="1200" b="0" i="0" u="none" strike="noStrike" kern="0" cap="none" spc="0" normalizeH="0" baseline="0" noProof="0">
                <a:ln>
                  <a:noFill/>
                </a:ln>
                <a:solidFill>
                  <a:prstClr val="black"/>
                </a:solidFill>
                <a:effectLst/>
                <a:uLnTx/>
                <a:uFillTx/>
                <a:latin typeface="Calibri" pitchFamily="34" charset="0"/>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4</a:t>
            </a:fld>
            <a:endParaRPr kumimoji="0" lang="en-US" altLang="en-US" sz="1200" b="0" i="0" u="none" strike="noStrike" kern="0" cap="none" spc="0" normalizeH="0" baseline="0" noProof="0" dirty="0">
              <a:ln>
                <a:noFill/>
              </a:ln>
              <a:solidFill>
                <a:prstClr val="black"/>
              </a:solidFill>
              <a:effectLst/>
              <a:uLnTx/>
              <a:uFillTx/>
              <a:latin typeface="Calibri" pitchFamily="34" charset="0"/>
              <a:ea typeface="+mn-ea"/>
              <a:cs typeface="+mn-cs"/>
            </a:endParaRPr>
          </a:p>
        </p:txBody>
      </p:sp>
    </p:spTree>
    <p:extLst>
      <p:ext uri="{BB962C8B-B14F-4D97-AF65-F5344CB8AC3E}">
        <p14:creationId xmlns:p14="http://schemas.microsoft.com/office/powerpoint/2010/main" val="37297106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Notes Placeholder 2"/>
          <p:cNvSpPr>
            <a:spLocks noGrp="1"/>
          </p:cNvSpPr>
          <p:nvPr>
            <p:ph type="body" idx="1"/>
          </p:nvPr>
        </p:nvSpPr>
        <p:spPr bwMode="auto">
          <a:xfrm>
            <a:off x="701675" y="4416425"/>
            <a:ext cx="5902325" cy="4183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1100" b="1"/>
              <a:t>Rob</a:t>
            </a:r>
          </a:p>
          <a:p>
            <a:pPr eaLnBrk="1" hangingPunct="1">
              <a:spcBef>
                <a:spcPct val="0"/>
              </a:spcBef>
            </a:pPr>
            <a:r>
              <a:rPr lang="en-US" altLang="en-US" sz="1100"/>
              <a:t>As Hitesh just explained why IBM acquired the Weather Company to be the first step into being a data provider, let me know start with explaining WHY IBM chose the Weather Company to be that provider.  Understanding this is critical to being able to position all the Weather offerings as superior to what is  your market place.  These advantages are what sets The Weather Company apart from its competitors and will give you an ‘edge’ to outshine your competitors.</a:t>
            </a:r>
          </a:p>
          <a:p>
            <a:pPr eaLnBrk="1" hangingPunct="1">
              <a:spcBef>
                <a:spcPct val="0"/>
              </a:spcBef>
            </a:pPr>
            <a:endParaRPr lang="en-US" altLang="en-US" sz="1100"/>
          </a:p>
          <a:p>
            <a:pPr eaLnBrk="1" hangingPunct="1">
              <a:spcBef>
                <a:spcPct val="0"/>
              </a:spcBef>
            </a:pPr>
            <a:r>
              <a:rPr lang="en-US" altLang="en-US" sz="1100"/>
              <a:t>Our goal is to be the top data provider of Weather – specifically providing weather for our thousands of analytic and integration customers as one example.  Our analytics customer base is one natural target for our offerings which already have the capabilities to consume weather data to improve their businesses.</a:t>
            </a:r>
          </a:p>
          <a:p>
            <a:pPr eaLnBrk="1" hangingPunct="1">
              <a:spcBef>
                <a:spcPct val="0"/>
              </a:spcBef>
            </a:pPr>
            <a:endParaRPr lang="en-US" altLang="en-US" sz="1100"/>
          </a:p>
          <a:p>
            <a:pPr eaLnBrk="1" hangingPunct="1">
              <a:spcBef>
                <a:spcPct val="0"/>
              </a:spcBef>
            </a:pPr>
            <a:r>
              <a:rPr lang="en-US" altLang="en-US" sz="1100"/>
              <a:t>Be aware that The Weather Company is the largest and most trusted weather source in the industry.  So w</a:t>
            </a:r>
            <a:r>
              <a:rPr lang="is-IS" altLang="en-US" sz="1100"/>
              <a:t>hen your customers ask you why they shouldn’t just use publicly available data...  Tell them that The Weather Company provides the following:</a:t>
            </a:r>
          </a:p>
          <a:p>
            <a:pPr eaLnBrk="1" hangingPunct="1">
              <a:spcBef>
                <a:spcPct val="0"/>
              </a:spcBef>
            </a:pPr>
            <a:endParaRPr lang="is-IS" altLang="en-US" sz="1100"/>
          </a:p>
          <a:p>
            <a:pPr eaLnBrk="1" hangingPunct="1">
              <a:spcBef>
                <a:spcPct val="0"/>
              </a:spcBef>
              <a:buFontTx/>
              <a:buChar char="•"/>
            </a:pPr>
            <a:r>
              <a:rPr lang="en-US" altLang="en-US" sz="1100" b="1"/>
              <a:t>The highest Precision:</a:t>
            </a:r>
            <a:r>
              <a:rPr lang="en-US" altLang="en-US" sz="1100"/>
              <a:t> We have over 200,000 weather stations globally, provide coverage that is </a:t>
            </a:r>
            <a:r>
              <a:rPr lang="en-US" altLang="en-US" sz="1100" b="1"/>
              <a:t>100x greater</a:t>
            </a:r>
            <a:r>
              <a:rPr lang="en-US" altLang="en-US" sz="1100"/>
              <a:t> than government sources, with </a:t>
            </a:r>
            <a:r>
              <a:rPr lang="en-US" altLang="en-US" sz="1100" b="1"/>
              <a:t>500 meter resolution</a:t>
            </a:r>
            <a:r>
              <a:rPr lang="en-US" altLang="en-US" sz="1100"/>
              <a:t> </a:t>
            </a:r>
          </a:p>
          <a:p>
            <a:pPr eaLnBrk="1" hangingPunct="1">
              <a:spcBef>
                <a:spcPct val="0"/>
              </a:spcBef>
              <a:buFontTx/>
              <a:buChar char="•"/>
            </a:pPr>
            <a:r>
              <a:rPr lang="en-US" altLang="en-US" sz="1100" b="1"/>
              <a:t>The best Accuracy: </a:t>
            </a:r>
            <a:r>
              <a:rPr lang="en-US" altLang="en-US" sz="1100"/>
              <a:t>The Weather Company forecast data is rated number one in accuracy in every geo, by the independent monitoring agency, Forecast Watch</a:t>
            </a:r>
          </a:p>
          <a:p>
            <a:pPr eaLnBrk="1" hangingPunct="1">
              <a:spcBef>
                <a:spcPct val="0"/>
              </a:spcBef>
              <a:buFontTx/>
              <a:buChar char="•"/>
            </a:pPr>
            <a:r>
              <a:rPr lang="en-US" altLang="en-US" sz="1100" b="1"/>
              <a:t>The fastest Speed: </a:t>
            </a:r>
            <a:r>
              <a:rPr lang="en-US" altLang="en-US" sz="1100"/>
              <a:t>Our cloud-based delivery platform provides forecasts at scale for 2.2B locations worldwide, updated every 15-minutes </a:t>
            </a:r>
          </a:p>
          <a:p>
            <a:pPr eaLnBrk="1" hangingPunct="1">
              <a:spcBef>
                <a:spcPct val="0"/>
              </a:spcBef>
              <a:buFontTx/>
              <a:buChar char="•"/>
            </a:pPr>
            <a:endParaRPr lang="en-US" altLang="en-US" sz="1100"/>
          </a:p>
          <a:p>
            <a:pPr eaLnBrk="1" hangingPunct="1">
              <a:spcBef>
                <a:spcPct val="0"/>
              </a:spcBef>
            </a:pPr>
            <a:r>
              <a:rPr lang="en-US" altLang="en-US" sz="1100"/>
              <a:t>Weather impacts literally everything, and if your customers rely on free weather data to run their businesses, they’ll get what they pay for</a:t>
            </a:r>
            <a:r>
              <a:rPr lang="is-IS" altLang="en-US" sz="1100"/>
              <a:t>…</a:t>
            </a:r>
            <a:endParaRPr lang="en-US" altLang="en-US" sz="1100"/>
          </a:p>
          <a:p>
            <a:pPr eaLnBrk="1" hangingPunct="1">
              <a:spcBef>
                <a:spcPct val="0"/>
              </a:spcBef>
            </a:pPr>
            <a:endParaRPr lang="en-US" altLang="en-US" sz="1100"/>
          </a:p>
          <a:p>
            <a:pPr eaLnBrk="1" hangingPunct="1">
              <a:spcBef>
                <a:spcPct val="0"/>
              </a:spcBef>
            </a:pPr>
            <a:endParaRPr lang="en-US" altLang="en-US" sz="1100"/>
          </a:p>
        </p:txBody>
      </p:sp>
      <p:sp>
        <p:nvSpPr>
          <p:cNvPr id="297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fld id="{EB8F05B0-E7E0-4D89-8E94-0E10E4C184BE}" type="slidenum">
              <a:rPr kumimoji="0" lang="en-US" altLang="en-US" sz="1800" b="0" i="0" u="none" strike="noStrike" kern="0" cap="none" spc="0" normalizeH="0" baseline="0" noProof="0" smtClean="0">
                <a:ln>
                  <a:noFill/>
                </a:ln>
                <a:solidFill>
                  <a:schemeClr val="tx1"/>
                </a:solidFill>
                <a:effectLst/>
                <a:uLnTx/>
                <a:uFillTx/>
                <a:latin typeface="Calibri" panose="020F0502020204030204" pitchFamily="34" charset="0"/>
                <a:cs typeface="Arial" panose="020B0604020202020204" pitchFamily="34" charset="0"/>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altLang="en-US" sz="1800" b="0" i="0" u="none" strike="noStrike" kern="0" cap="none" spc="0" normalizeH="0" baseline="0" noProof="0">
              <a:ln>
                <a:noFill/>
              </a:ln>
              <a:solidFill>
                <a:schemeClr val="tx1"/>
              </a:solidFill>
              <a:effectLst/>
              <a:uLnTx/>
              <a:uFillTx/>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9292361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bjective:</a:t>
            </a:r>
            <a:r>
              <a:rPr lang="en-US" baseline="0" dirty="0"/>
              <a:t> Tell the story of PRECISION</a:t>
            </a:r>
          </a:p>
          <a:p>
            <a:r>
              <a:rPr lang="en-US" sz="1200" kern="1200" dirty="0">
                <a:solidFill>
                  <a:schemeClr val="tx1"/>
                </a:solidFill>
                <a:effectLst/>
                <a:latin typeface="+mn-lt"/>
                <a:ea typeface="+mn-ea"/>
                <a:cs typeface="+mn-cs"/>
              </a:rPr>
              <a:t>Because</a:t>
            </a:r>
            <a:r>
              <a:rPr lang="en-US" sz="1200" kern="1200" baseline="0" dirty="0">
                <a:solidFill>
                  <a:schemeClr val="tx1"/>
                </a:solidFill>
                <a:effectLst/>
                <a:latin typeface="+mn-lt"/>
                <a:ea typeface="+mn-ea"/>
                <a:cs typeface="+mn-cs"/>
              </a:rPr>
              <a:t> weather is hyper-local and</a:t>
            </a:r>
            <a:r>
              <a:rPr lang="en-US" sz="1200" kern="1200" dirty="0">
                <a:solidFill>
                  <a:schemeClr val="tx1"/>
                </a:solidFill>
                <a:effectLst/>
                <a:latin typeface="+mn-lt"/>
                <a:ea typeface="+mn-ea"/>
                <a:cs typeface="+mn-cs"/>
              </a:rPr>
              <a:t> can differ on a neighborhood by neighborhood basis. Here you can see the</a:t>
            </a:r>
            <a:r>
              <a:rPr lang="en-US" sz="1200" kern="1200" baseline="0" dirty="0">
                <a:solidFill>
                  <a:schemeClr val="tx1"/>
                </a:solidFill>
                <a:effectLst/>
                <a:latin typeface="+mn-lt"/>
                <a:ea typeface="+mn-ea"/>
                <a:cs typeface="+mn-cs"/>
              </a:rPr>
              <a:t> temperature differential within just a few kilometers. </a:t>
            </a:r>
            <a:r>
              <a:rPr lang="en-US" dirty="0"/>
              <a:t>If you live within 2km of a weather reporting station, your forecast is 15% more accurate.</a:t>
            </a:r>
          </a:p>
        </p:txBody>
      </p:sp>
      <p:sp>
        <p:nvSpPr>
          <p:cNvPr id="4" name="Slide Number Placeholder 3"/>
          <p:cNvSpPr>
            <a:spLocks noGrp="1"/>
          </p:cNvSpPr>
          <p:nvPr>
            <p:ph type="sldNum" sz="quarter" idx="10"/>
          </p:nvPr>
        </p:nvSpPr>
        <p:spPr/>
        <p:txBody>
          <a:bodyPr/>
          <a:lstStyle/>
          <a:p>
            <a:fld id="{B50F86D4-1C2B-429E-8126-E822CC343766}" type="slidenum">
              <a:rPr lang="en-US" smtClean="0"/>
              <a:t>7</a:t>
            </a:fld>
            <a:endParaRPr lang="en-US" dirty="0"/>
          </a:p>
        </p:txBody>
      </p:sp>
    </p:spTree>
    <p:extLst>
      <p:ext uri="{BB962C8B-B14F-4D97-AF65-F5344CB8AC3E}">
        <p14:creationId xmlns:p14="http://schemas.microsoft.com/office/powerpoint/2010/main" val="8569224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bjective of slides 12-14: Tell the story of ACCURACY</a:t>
            </a:r>
          </a:p>
          <a:p>
            <a:endParaRPr lang="en-US" sz="1200" kern="1200" baseline="0" dirty="0">
              <a:solidFill>
                <a:schemeClr val="tx1"/>
              </a:solidFill>
              <a:effectLst/>
              <a:latin typeface="+mn-lt"/>
              <a:ea typeface="+mn-ea"/>
              <a:cs typeface="+mn-cs"/>
            </a:endParaRPr>
          </a:p>
          <a:p>
            <a:r>
              <a:rPr lang="en-US" sz="1200" kern="1200" baseline="0" dirty="0">
                <a:solidFill>
                  <a:schemeClr val="tx1"/>
                </a:solidFill>
                <a:effectLst/>
                <a:latin typeface="+mn-lt"/>
                <a:ea typeface="+mn-ea"/>
                <a:cs typeface="+mn-cs"/>
              </a:rPr>
              <a:t>The best forecast model in the world doesn’t produce the best forecast. A combination of 162 models does. </a:t>
            </a:r>
            <a:endParaRPr lang="en-US" dirty="0"/>
          </a:p>
        </p:txBody>
      </p:sp>
      <p:sp>
        <p:nvSpPr>
          <p:cNvPr id="4" name="Slide Number Placeholder 3"/>
          <p:cNvSpPr>
            <a:spLocks noGrp="1"/>
          </p:cNvSpPr>
          <p:nvPr>
            <p:ph type="sldNum" sz="quarter" idx="10"/>
          </p:nvPr>
        </p:nvSpPr>
        <p:spPr/>
        <p:txBody>
          <a:bodyPr/>
          <a:lstStyle/>
          <a:p>
            <a:fld id="{B50F86D4-1C2B-429E-8126-E822CC343766}" type="slidenum">
              <a:rPr lang="en-US" smtClean="0"/>
              <a:t>8</a:t>
            </a:fld>
            <a:endParaRPr lang="en-US" dirty="0"/>
          </a:p>
        </p:txBody>
      </p:sp>
    </p:spTree>
    <p:extLst>
      <p:ext uri="{BB962C8B-B14F-4D97-AF65-F5344CB8AC3E}">
        <p14:creationId xmlns:p14="http://schemas.microsoft.com/office/powerpoint/2010/main" val="34121250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50F86D4-1C2B-429E-8126-E822CC34376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62664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bjective of slides</a:t>
            </a:r>
            <a:r>
              <a:rPr lang="en-US" baseline="0" dirty="0"/>
              <a:t> 22-24: </a:t>
            </a:r>
            <a:r>
              <a:rPr lang="en-US" dirty="0"/>
              <a:t>Introduce the SUN Platform</a:t>
            </a:r>
          </a:p>
          <a:p>
            <a:endParaRPr lang="en-US" dirty="0"/>
          </a:p>
          <a:p>
            <a:r>
              <a:rPr lang="en-US" dirty="0"/>
              <a:t>The</a:t>
            </a:r>
            <a:r>
              <a:rPr lang="en-US" baseline="0" dirty="0"/>
              <a:t> work we do, however, is only as good as the foundation supporting it. The SUN platform is our cloud-based data platform that ingests more than 24 terabytes of data a day. More than 100 different types of data. The platform supports not only the ingestion of data, but the transformation so that it can be used for analytic purposes.</a:t>
            </a:r>
            <a:endParaRPr lang="en-US" dirty="0"/>
          </a:p>
        </p:txBody>
      </p:sp>
      <p:sp>
        <p:nvSpPr>
          <p:cNvPr id="4" name="Slide Number Placeholder 3"/>
          <p:cNvSpPr>
            <a:spLocks noGrp="1"/>
          </p:cNvSpPr>
          <p:nvPr>
            <p:ph type="sldNum" sz="quarter" idx="10"/>
          </p:nvPr>
        </p:nvSpPr>
        <p:spPr/>
        <p:txBody>
          <a:bodyPr/>
          <a:lstStyle/>
          <a:p>
            <a:fld id="{B50F86D4-1C2B-429E-8126-E822CC343766}" type="slidenum">
              <a:rPr lang="en-US" smtClean="0"/>
              <a:t>10</a:t>
            </a:fld>
            <a:endParaRPr lang="en-US" dirty="0"/>
          </a:p>
        </p:txBody>
      </p:sp>
    </p:spTree>
    <p:extLst>
      <p:ext uri="{BB962C8B-B14F-4D97-AF65-F5344CB8AC3E}">
        <p14:creationId xmlns:p14="http://schemas.microsoft.com/office/powerpoint/2010/main" val="39122680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spcBef>
                <a:spcPts val="450"/>
              </a:spcBef>
              <a:defRPr/>
            </a:pPr>
            <a:r>
              <a:rPr lang="en-US" sz="1200" b="0" dirty="0">
                <a:solidFill>
                  <a:schemeClr val="bg1"/>
                </a:solidFill>
                <a:ea typeface="ＭＳ Ｐゴシック" charset="-128"/>
              </a:rPr>
              <a:t>Objective: Underscore value of weather data in decision making; highlight that probabilistic</a:t>
            </a:r>
            <a:r>
              <a:rPr lang="en-US" sz="1200" b="0" baseline="0" dirty="0">
                <a:solidFill>
                  <a:schemeClr val="bg1"/>
                </a:solidFill>
                <a:ea typeface="ＭＳ Ｐゴシック" charset="-128"/>
              </a:rPr>
              <a:t> will be available next year.</a:t>
            </a:r>
            <a:endParaRPr lang="en-US" sz="1200" b="0" dirty="0">
              <a:solidFill>
                <a:schemeClr val="bg1"/>
              </a:solidFill>
              <a:ea typeface="ＭＳ Ｐゴシック" charset="-128"/>
            </a:endParaRPr>
          </a:p>
          <a:p>
            <a:pPr algn="l">
              <a:spcBef>
                <a:spcPts val="450"/>
              </a:spcBef>
              <a:defRPr/>
            </a:pPr>
            <a:endParaRPr lang="en-US" sz="1200" b="0" dirty="0">
              <a:solidFill>
                <a:schemeClr val="bg1"/>
              </a:solidFill>
              <a:ea typeface="ＭＳ Ｐゴシック" charset="-128"/>
            </a:endParaRPr>
          </a:p>
          <a:p>
            <a:pPr algn="l">
              <a:spcBef>
                <a:spcPts val="450"/>
              </a:spcBef>
              <a:defRPr/>
            </a:pPr>
            <a:r>
              <a:rPr lang="en-US" sz="1200" b="0" dirty="0">
                <a:solidFill>
                  <a:schemeClr val="bg1"/>
                </a:solidFill>
                <a:ea typeface="ＭＳ Ｐゴシック" charset="-128"/>
              </a:rPr>
              <a:t>And</a:t>
            </a:r>
            <a:r>
              <a:rPr lang="en-US" sz="1200" b="0" baseline="0" dirty="0">
                <a:solidFill>
                  <a:schemeClr val="bg1"/>
                </a:solidFill>
                <a:ea typeface="ＭＳ Ｐゴシック" charset="-128"/>
              </a:rPr>
              <a:t> probabilistic forecast data will be available in key weather data packages from The Weather Company early next year. At present, we offer a number of options – historical, current and forecast data that can be used to analyze, predict and make decisions.</a:t>
            </a:r>
            <a:endParaRPr lang="en-US" sz="1200" b="0" dirty="0">
              <a:solidFill>
                <a:schemeClr val="bg1"/>
              </a:solidFill>
              <a:ea typeface="ＭＳ Ｐゴシック" charset="-128"/>
            </a:endParaRPr>
          </a:p>
          <a:p>
            <a:pPr algn="l">
              <a:spcBef>
                <a:spcPts val="450"/>
              </a:spcBef>
              <a:defRPr/>
            </a:pPr>
            <a:endParaRPr lang="en-US" sz="1200" b="1" dirty="0">
              <a:solidFill>
                <a:schemeClr val="bg1"/>
              </a:solidFill>
              <a:ea typeface="ＭＳ Ｐゴシック" charset="-128"/>
            </a:endParaRPr>
          </a:p>
          <a:p>
            <a:pPr algn="l">
              <a:spcBef>
                <a:spcPts val="450"/>
              </a:spcBef>
              <a:defRPr/>
            </a:pPr>
            <a:r>
              <a:rPr lang="en-US" sz="1200" b="1" dirty="0">
                <a:solidFill>
                  <a:schemeClr val="bg1"/>
                </a:solidFill>
                <a:ea typeface="ＭＳ Ｐゴシック" charset="-128"/>
              </a:rPr>
              <a:t>Site Based Weather Observations</a:t>
            </a:r>
          </a:p>
          <a:p>
            <a:pPr algn="l">
              <a:spcBef>
                <a:spcPts val="450"/>
              </a:spcBef>
              <a:defRPr/>
            </a:pPr>
            <a:r>
              <a:rPr lang="en-US" sz="1200" dirty="0">
                <a:solidFill>
                  <a:schemeClr val="bg1"/>
                </a:solidFill>
                <a:ea typeface="ＭＳ Ｐゴシック" charset="-128"/>
              </a:rPr>
              <a:t>Weather observations from stations and crowd-sourced sensors including temperature, wind, humidity, pressure, dew point, visibility, and UV Index</a:t>
            </a:r>
          </a:p>
          <a:p>
            <a:pPr algn="l">
              <a:spcBef>
                <a:spcPts val="450"/>
              </a:spcBef>
              <a:defRPr/>
            </a:pPr>
            <a:endParaRPr lang="en-US" sz="1200" dirty="0">
              <a:solidFill>
                <a:schemeClr val="bg1"/>
              </a:solidFill>
              <a:ea typeface="ＭＳ Ｐゴシック" charset="-128"/>
            </a:endParaRPr>
          </a:p>
          <a:p>
            <a:pPr algn="l">
              <a:spcBef>
                <a:spcPts val="450"/>
              </a:spcBef>
              <a:defRPr/>
            </a:pPr>
            <a:r>
              <a:rPr lang="en-US" sz="1200" b="1" dirty="0">
                <a:solidFill>
                  <a:schemeClr val="bg1"/>
                </a:solidFill>
                <a:ea typeface="ＭＳ Ｐゴシック" charset="-128"/>
              </a:rPr>
              <a:t>Severe Weather Reports</a:t>
            </a:r>
          </a:p>
          <a:p>
            <a:pPr algn="l">
              <a:spcBef>
                <a:spcPts val="450"/>
              </a:spcBef>
              <a:defRPr/>
            </a:pPr>
            <a:r>
              <a:rPr lang="en-US" sz="1200" dirty="0">
                <a:solidFill>
                  <a:schemeClr val="bg1"/>
                </a:solidFill>
                <a:ea typeface="ＭＳ Ｐゴシック" charset="-128"/>
              </a:rPr>
              <a:t>Hail (US only), tornado, wind, hurricane, snow, rain, ice, and lightning reports in real-time and historical observations</a:t>
            </a:r>
          </a:p>
          <a:p>
            <a:pPr algn="l">
              <a:spcBef>
                <a:spcPts val="450"/>
              </a:spcBef>
              <a:defRPr/>
            </a:pPr>
            <a:endParaRPr lang="en-US" sz="1200" dirty="0">
              <a:solidFill>
                <a:schemeClr val="bg1"/>
              </a:solidFill>
              <a:ea typeface="ＭＳ Ｐゴシック" charset="-128"/>
            </a:endParaRPr>
          </a:p>
          <a:p>
            <a:pPr algn="l">
              <a:spcBef>
                <a:spcPts val="450"/>
              </a:spcBef>
              <a:defRPr/>
            </a:pPr>
            <a:r>
              <a:rPr lang="en-US" sz="1200" b="1" dirty="0">
                <a:solidFill>
                  <a:schemeClr val="bg1"/>
                </a:solidFill>
                <a:ea typeface="ＭＳ Ｐゴシック" charset="-128"/>
              </a:rPr>
              <a:t>Weather Imagery</a:t>
            </a:r>
          </a:p>
          <a:p>
            <a:pPr algn="l">
              <a:spcBef>
                <a:spcPts val="450"/>
              </a:spcBef>
              <a:defRPr/>
            </a:pPr>
            <a:r>
              <a:rPr lang="en-US" sz="1200" dirty="0">
                <a:solidFill>
                  <a:schemeClr val="bg1"/>
                </a:solidFill>
                <a:ea typeface="ＭＳ Ｐゴシック" charset="-128"/>
              </a:rPr>
              <a:t>Radar, doppler, and satellite imagery updated 5-60 minutes.</a:t>
            </a:r>
          </a:p>
          <a:p>
            <a:pPr algn="l">
              <a:spcBef>
                <a:spcPts val="450"/>
              </a:spcBef>
              <a:defRPr/>
            </a:pPr>
            <a:endParaRPr lang="en-US" sz="1200" dirty="0">
              <a:solidFill>
                <a:schemeClr val="bg1"/>
              </a:solidFill>
              <a:ea typeface="ＭＳ Ｐゴシック" charset="-128"/>
            </a:endParaRPr>
          </a:p>
          <a:p>
            <a:pPr algn="l">
              <a:spcBef>
                <a:spcPts val="450"/>
              </a:spcBef>
              <a:defRPr/>
            </a:pPr>
            <a:r>
              <a:rPr lang="en-US" sz="1200" b="1" dirty="0">
                <a:solidFill>
                  <a:schemeClr val="bg1"/>
                </a:solidFill>
                <a:ea typeface="ＭＳ Ｐゴシック" charset="-128"/>
              </a:rPr>
              <a:t>Road Conditions</a:t>
            </a:r>
          </a:p>
          <a:p>
            <a:pPr algn="l">
              <a:spcBef>
                <a:spcPts val="450"/>
              </a:spcBef>
              <a:defRPr/>
            </a:pPr>
            <a:r>
              <a:rPr lang="en-US" sz="1200" dirty="0">
                <a:solidFill>
                  <a:schemeClr val="bg1"/>
                </a:solidFill>
                <a:ea typeface="ＭＳ Ｐゴシック" charset="-128"/>
              </a:rPr>
              <a:t>Accumulations and intensity of rain, snow, and ice</a:t>
            </a:r>
          </a:p>
          <a:p>
            <a:pPr algn="l">
              <a:spcBef>
                <a:spcPts val="450"/>
              </a:spcBef>
              <a:defRPr/>
            </a:pPr>
            <a:endParaRPr lang="en-US" sz="1200" dirty="0">
              <a:solidFill>
                <a:schemeClr val="bg1"/>
              </a:solidFill>
              <a:ea typeface="ＭＳ Ｐゴシック" charset="-128"/>
            </a:endParaRPr>
          </a:p>
          <a:p>
            <a:pPr algn="l">
              <a:spcBef>
                <a:spcPts val="450"/>
              </a:spcBef>
              <a:defRPr/>
            </a:pPr>
            <a:r>
              <a:rPr lang="en-US" sz="1200" b="1" dirty="0">
                <a:solidFill>
                  <a:schemeClr val="bg1"/>
                </a:solidFill>
                <a:ea typeface="ＭＳ Ｐゴシック" charset="-128"/>
              </a:rPr>
              <a:t>Weather Alerts</a:t>
            </a:r>
          </a:p>
          <a:p>
            <a:pPr algn="l">
              <a:spcBef>
                <a:spcPts val="450"/>
              </a:spcBef>
              <a:defRPr/>
            </a:pPr>
            <a:r>
              <a:rPr lang="en-US" sz="1200" dirty="0">
                <a:solidFill>
                  <a:schemeClr val="bg1"/>
                </a:solidFill>
                <a:ea typeface="ＭＳ Ｐゴシック" charset="-128"/>
              </a:rPr>
              <a:t>Severe weather, wildfire, and earthquake alerts in real-time</a:t>
            </a:r>
          </a:p>
          <a:p>
            <a:pPr algn="l">
              <a:spcBef>
                <a:spcPts val="450"/>
              </a:spcBef>
              <a:defRPr/>
            </a:pPr>
            <a:endParaRPr lang="en-US" sz="1200" dirty="0">
              <a:solidFill>
                <a:schemeClr val="bg1"/>
              </a:solidFill>
              <a:ea typeface="ＭＳ Ｐゴシック" charset="-128"/>
            </a:endParaRPr>
          </a:p>
          <a:p>
            <a:pPr algn="l">
              <a:spcBef>
                <a:spcPts val="450"/>
              </a:spcBef>
              <a:defRPr/>
            </a:pPr>
            <a:r>
              <a:rPr lang="en-US" sz="1200" b="1" dirty="0">
                <a:solidFill>
                  <a:schemeClr val="bg1"/>
                </a:solidFill>
                <a:ea typeface="ＭＳ Ｐゴシック" charset="-128"/>
              </a:rPr>
              <a:t>Tropical Storms</a:t>
            </a:r>
          </a:p>
          <a:p>
            <a:pPr marL="0" marR="0" lvl="0" indent="0" algn="l" defTabSz="914400" rtl="0" eaLnBrk="1" fontAlgn="auto" latinLnBrk="0" hangingPunct="1">
              <a:lnSpc>
                <a:spcPct val="100000"/>
              </a:lnSpc>
              <a:spcBef>
                <a:spcPts val="450"/>
              </a:spcBef>
              <a:spcAft>
                <a:spcPts val="0"/>
              </a:spcAft>
              <a:buClrTx/>
              <a:buSzTx/>
              <a:buFontTx/>
              <a:buNone/>
              <a:tabLst/>
              <a:defRPr/>
            </a:pPr>
            <a:r>
              <a:rPr lang="en-US" sz="1200" dirty="0">
                <a:solidFill>
                  <a:schemeClr val="bg1"/>
                </a:solidFill>
                <a:ea typeface="ＭＳ Ｐゴシック" charset="-128"/>
              </a:rPr>
              <a:t>Probabilistic hurricane forecasts up to 15 days; water levels, surges, and wave height levels up to 48 hours – </a:t>
            </a:r>
            <a:r>
              <a:rPr lang="en-US" sz="1200" i="1" dirty="0">
                <a:solidFill>
                  <a:schemeClr val="bg1"/>
                </a:solidFill>
                <a:ea typeface="ＭＳ Ｐゴシック" charset="-128"/>
              </a:rPr>
              <a:t>note </a:t>
            </a:r>
            <a:r>
              <a:rPr lang="en-US" sz="1200" i="1" baseline="0" dirty="0">
                <a:solidFill>
                  <a:schemeClr val="bg1"/>
                </a:solidFill>
                <a:ea typeface="ＭＳ Ｐゴシック" charset="-128"/>
              </a:rPr>
              <a:t>this will be updated </a:t>
            </a:r>
            <a:r>
              <a:rPr lang="en-US" sz="1200" i="1" dirty="0">
                <a:solidFill>
                  <a:schemeClr val="bg1"/>
                </a:solidFill>
                <a:latin typeface="Helvetica Neue Thin" charset="0"/>
                <a:ea typeface="Helvetica Neue Thin" charset="0"/>
                <a:cs typeface="Helvetica Neue Thin" charset="0"/>
              </a:rPr>
              <a:t>in 2017 to include probabilistic capabilities</a:t>
            </a:r>
          </a:p>
          <a:p>
            <a:pPr algn="l">
              <a:spcBef>
                <a:spcPts val="450"/>
              </a:spcBef>
              <a:defRPr/>
            </a:pPr>
            <a:endParaRPr lang="en-US" sz="1200" dirty="0">
              <a:solidFill>
                <a:schemeClr val="bg1"/>
              </a:solidFill>
              <a:ea typeface="ＭＳ Ｐゴシック" charset="-128"/>
            </a:endParaRPr>
          </a:p>
          <a:p>
            <a:pPr algn="l">
              <a:spcBef>
                <a:spcPts val="450"/>
              </a:spcBef>
              <a:defRPr/>
            </a:pPr>
            <a:endParaRPr lang="en-US" sz="1200" dirty="0">
              <a:solidFill>
                <a:schemeClr val="bg1"/>
              </a:solidFill>
              <a:ea typeface="ＭＳ Ｐゴシック" charset="-128"/>
            </a:endParaRPr>
          </a:p>
          <a:p>
            <a:pPr algn="l">
              <a:spcBef>
                <a:spcPts val="450"/>
              </a:spcBef>
              <a:defRPr/>
            </a:pPr>
            <a:r>
              <a:rPr lang="en-US" sz="1200" b="1" dirty="0">
                <a:solidFill>
                  <a:schemeClr val="bg1"/>
                </a:solidFill>
                <a:ea typeface="ＭＳ Ｐゴシック" charset="-128"/>
              </a:rPr>
              <a:t>Weather Forecasts</a:t>
            </a:r>
          </a:p>
          <a:p>
            <a:pPr marL="0" marR="0" lvl="0" indent="0" algn="l" defTabSz="914400" rtl="0" eaLnBrk="1" fontAlgn="auto" latinLnBrk="0" hangingPunct="1">
              <a:lnSpc>
                <a:spcPct val="100000"/>
              </a:lnSpc>
              <a:spcBef>
                <a:spcPts val="450"/>
              </a:spcBef>
              <a:spcAft>
                <a:spcPts val="0"/>
              </a:spcAft>
              <a:buClrTx/>
              <a:buSzTx/>
              <a:buFontTx/>
              <a:buNone/>
              <a:tabLst/>
              <a:defRPr/>
            </a:pPr>
            <a:r>
              <a:rPr lang="en-US" sz="1200" dirty="0">
                <a:solidFill>
                  <a:schemeClr val="bg1"/>
                </a:solidFill>
                <a:ea typeface="ＭＳ Ｐゴシック" charset="-128"/>
              </a:rPr>
              <a:t>Hyper-local weather forecasts, including 1-hour windows up to 24 hours and 6-hour windows 1-15 days in the future. Includes severe weather and storm path predictions - </a:t>
            </a:r>
            <a:r>
              <a:rPr lang="en-US" sz="1200" i="1" dirty="0">
                <a:solidFill>
                  <a:schemeClr val="bg1"/>
                </a:solidFill>
                <a:ea typeface="ＭＳ Ｐゴシック" charset="-128"/>
              </a:rPr>
              <a:t>note </a:t>
            </a:r>
            <a:r>
              <a:rPr lang="en-US" sz="1200" i="1" baseline="0" dirty="0">
                <a:solidFill>
                  <a:schemeClr val="bg1"/>
                </a:solidFill>
                <a:ea typeface="ＭＳ Ｐゴシック" charset="-128"/>
              </a:rPr>
              <a:t>this will be updated </a:t>
            </a:r>
            <a:r>
              <a:rPr lang="en-US" sz="1200" i="1" dirty="0">
                <a:solidFill>
                  <a:schemeClr val="bg1"/>
                </a:solidFill>
                <a:latin typeface="Helvetica Neue Thin" charset="0"/>
                <a:ea typeface="Helvetica Neue Thin" charset="0"/>
                <a:cs typeface="Helvetica Neue Thin" charset="0"/>
              </a:rPr>
              <a:t>in 2017 to include probabilistic capabilities</a:t>
            </a:r>
          </a:p>
          <a:p>
            <a:pPr algn="l">
              <a:spcBef>
                <a:spcPts val="450"/>
              </a:spcBef>
              <a:defRPr/>
            </a:pPr>
            <a:endParaRPr lang="en-US" sz="1200" dirty="0">
              <a:solidFill>
                <a:schemeClr val="bg1"/>
              </a:solidFill>
              <a:ea typeface="ＭＳ Ｐゴシック" charset="-128"/>
            </a:endParaRPr>
          </a:p>
          <a:p>
            <a:pPr algn="l">
              <a:spcBef>
                <a:spcPts val="450"/>
              </a:spcBef>
              <a:defRPr/>
            </a:pPr>
            <a:endParaRPr lang="en-US" sz="1200" dirty="0">
              <a:solidFill>
                <a:schemeClr val="bg1"/>
              </a:solidFill>
              <a:ea typeface="ＭＳ Ｐゴシック" charset="-128"/>
            </a:endParaRPr>
          </a:p>
          <a:p>
            <a:pPr algn="l">
              <a:spcBef>
                <a:spcPts val="450"/>
              </a:spcBef>
              <a:defRPr/>
            </a:pPr>
            <a:r>
              <a:rPr lang="en-US" sz="1200" b="1" dirty="0">
                <a:solidFill>
                  <a:schemeClr val="bg1"/>
                </a:solidFill>
                <a:ea typeface="ＭＳ Ｐゴシック" charset="-128"/>
              </a:rPr>
              <a:t>Seasonal Forecast</a:t>
            </a:r>
          </a:p>
          <a:p>
            <a:pPr algn="l">
              <a:spcBef>
                <a:spcPts val="450"/>
              </a:spcBef>
              <a:defRPr/>
            </a:pPr>
            <a:r>
              <a:rPr lang="en-US" sz="1200" dirty="0">
                <a:solidFill>
                  <a:schemeClr val="bg1"/>
                </a:solidFill>
                <a:ea typeface="ＭＳ Ｐゴシック" charset="-128"/>
              </a:rPr>
              <a:t>Comprehensive long-range forecast beyond traditional 15-day forecast. Temperature and precipitation anomaly predictions extend 4 months into the future.</a:t>
            </a:r>
          </a:p>
          <a:p>
            <a:pPr algn="l">
              <a:spcBef>
                <a:spcPts val="450"/>
              </a:spcBef>
              <a:defRPr/>
            </a:pPr>
            <a:endParaRPr lang="en-US" sz="1200" dirty="0">
              <a:solidFill>
                <a:schemeClr val="bg1"/>
              </a:solidFill>
              <a:ea typeface="ＭＳ Ｐゴシック" charset="-128"/>
            </a:endParaRPr>
          </a:p>
          <a:p>
            <a:pPr algn="l">
              <a:spcBef>
                <a:spcPts val="450"/>
              </a:spcBef>
              <a:defRPr/>
            </a:pPr>
            <a:endParaRPr lang="en-US" sz="1200" dirty="0">
              <a:solidFill>
                <a:schemeClr val="bg1"/>
              </a:solidFill>
              <a:ea typeface="ＭＳ Ｐゴシック" charset="-128"/>
            </a:endParaRPr>
          </a:p>
          <a:p>
            <a:pPr algn="l">
              <a:spcBef>
                <a:spcPts val="450"/>
              </a:spcBef>
              <a:defRPr/>
            </a:pPr>
            <a:endParaRPr lang="en-US" sz="1200" dirty="0">
              <a:solidFill>
                <a:schemeClr val="bg1"/>
              </a:solidFill>
              <a:ea typeface="ＭＳ Ｐゴシック" charset="-128"/>
            </a:endParaRPr>
          </a:p>
          <a:p>
            <a:pPr algn="l">
              <a:spcBef>
                <a:spcPts val="450"/>
              </a:spcBef>
              <a:defRPr/>
            </a:pPr>
            <a:endParaRPr lang="en-US" sz="1200" dirty="0">
              <a:solidFill>
                <a:schemeClr val="bg1"/>
              </a:solidFill>
              <a:ea typeface="ＭＳ Ｐゴシック" charset="-128"/>
            </a:endParaRPr>
          </a:p>
          <a:p>
            <a:pPr algn="l">
              <a:spcBef>
                <a:spcPts val="450"/>
              </a:spcBef>
              <a:defRPr/>
            </a:pPr>
            <a:endParaRPr lang="en-US" sz="1200" dirty="0">
              <a:solidFill>
                <a:schemeClr val="bg1"/>
              </a:solidFill>
              <a:ea typeface="ＭＳ Ｐゴシック" charset="-128"/>
            </a:endParaRPr>
          </a:p>
          <a:p>
            <a:pPr algn="l">
              <a:spcBef>
                <a:spcPts val="450"/>
              </a:spcBef>
              <a:defRPr/>
            </a:pPr>
            <a:endParaRPr lang="en-US" sz="1200" dirty="0">
              <a:solidFill>
                <a:schemeClr val="bg1"/>
              </a:solidFill>
              <a:ea typeface="ＭＳ Ｐゴシック" charset="-128"/>
            </a:endParaRPr>
          </a:p>
        </p:txBody>
      </p:sp>
      <p:sp>
        <p:nvSpPr>
          <p:cNvPr id="4" name="Slide Number Placeholder 3"/>
          <p:cNvSpPr>
            <a:spLocks noGrp="1"/>
          </p:cNvSpPr>
          <p:nvPr>
            <p:ph type="sldNum" sz="quarter" idx="10"/>
          </p:nvPr>
        </p:nvSpPr>
        <p:spPr/>
        <p:txBody>
          <a:bodyPr/>
          <a:lstStyle/>
          <a:p>
            <a:fld id="{B50F86D4-1C2B-429E-8126-E822CC343766}" type="slidenum">
              <a:rPr lang="en-US" smtClean="0"/>
              <a:t>11</a:t>
            </a:fld>
            <a:endParaRPr lang="en-US" dirty="0"/>
          </a:p>
        </p:txBody>
      </p:sp>
    </p:spTree>
    <p:extLst>
      <p:ext uri="{BB962C8B-B14F-4D97-AF65-F5344CB8AC3E}">
        <p14:creationId xmlns:p14="http://schemas.microsoft.com/office/powerpoint/2010/main" val="1681462533"/>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3.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Master" Target="../slideMasters/slideMaster4.xml"/><Relationship Id="rId7" Type="http://schemas.openxmlformats.org/officeDocument/2006/relationships/image" Target="../media/image19.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3.emf"/><Relationship Id="rId5" Type="http://schemas.openxmlformats.org/officeDocument/2006/relationships/oleObject" Target="../embeddings/oleObject6.bin"/><Relationship Id="rId4" Type="http://schemas.openxmlformats.org/officeDocument/2006/relationships/image" Target="../media/image18.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Master" Target="../slideMasters/slideMaster5.xml"/><Relationship Id="rId7" Type="http://schemas.openxmlformats.org/officeDocument/2006/relationships/image" Target="../media/image19.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3.emf"/><Relationship Id="rId5" Type="http://schemas.openxmlformats.org/officeDocument/2006/relationships/oleObject" Target="../embeddings/oleObject8.bin"/><Relationship Id="rId4" Type="http://schemas.openxmlformats.org/officeDocument/2006/relationships/image" Target="../media/image18.jpe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0.xml"/><Relationship Id="rId7" Type="http://schemas.openxmlformats.org/officeDocument/2006/relationships/image" Target="../media/image17.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3.emf"/><Relationship Id="rId5" Type="http://schemas.openxmlformats.org/officeDocument/2006/relationships/oleObject" Target="../embeddings/oleObject9.bin"/><Relationship Id="rId4" Type="http://schemas.openxmlformats.org/officeDocument/2006/relationships/slideMaster" Target="../slideMasters/slideMaster5.xml"/><Relationship Id="rId9" Type="http://schemas.openxmlformats.org/officeDocument/2006/relationships/oleObject" Target="../embeddings/oleObject10.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2.emf"/><Relationship Id="rId4" Type="http://schemas.openxmlformats.org/officeDocument/2006/relationships/image" Target="../media/image7.jpe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2.emf"/><Relationship Id="rId4" Type="http://schemas.microsoft.com/office/2007/relationships/hdphoto" Target="../media/hdphoto3.wdp"/></Relationships>
</file>

<file path=ppt/slideLayouts/_rels/slideLayout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jpe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2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radius="45"/>
                    </a14:imgEffect>
                    <a14:imgEffect>
                      <a14:saturation sat="0"/>
                    </a14:imgEffect>
                  </a14:imgLayer>
                </a14:imgProps>
              </a:ext>
              <a:ext uri="{28A0092B-C50C-407E-A947-70E740481C1C}">
                <a14:useLocalDpi xmlns:a14="http://schemas.microsoft.com/office/drawing/2010/main"/>
              </a:ext>
            </a:extLst>
          </a:blip>
          <a:srcRect/>
          <a:stretch/>
        </p:blipFill>
        <p:spPr>
          <a:xfrm>
            <a:off x="-2" y="0"/>
            <a:ext cx="9144001" cy="5143500"/>
          </a:xfrm>
          <a:prstGeom prst="rect">
            <a:avLst/>
          </a:prstGeom>
        </p:spPr>
      </p:pic>
      <p:sp>
        <p:nvSpPr>
          <p:cNvPr id="7" name="Rectangle 6"/>
          <p:cNvSpPr>
            <a:spLocks noChangeArrowheads="1"/>
          </p:cNvSpPr>
          <p:nvPr userDrawn="1"/>
        </p:nvSpPr>
        <p:spPr bwMode="auto">
          <a:xfrm rot="16200000">
            <a:off x="4010024" y="-4010026"/>
            <a:ext cx="1123950" cy="9144002"/>
          </a:xfrm>
          <a:prstGeom prst="rect">
            <a:avLst/>
          </a:prstGeom>
          <a:solidFill>
            <a:schemeClr val="bg1">
              <a:alpha val="85000"/>
            </a:schemeClr>
          </a:solidFill>
          <a:ln>
            <a:noFill/>
          </a:ln>
          <a:extLst/>
        </p:spPr>
        <p:txBody>
          <a:bodyPr/>
          <a:lstStyle/>
          <a:p>
            <a:pPr algn="ctr"/>
            <a:r>
              <a:rPr lang="en-US" dirty="0">
                <a:latin typeface="Arial"/>
                <a:ea typeface="Arial"/>
                <a:cs typeface="Arial"/>
              </a:rPr>
              <a:t>    </a:t>
            </a:r>
          </a:p>
        </p:txBody>
      </p:sp>
      <p:pic>
        <p:nvPicPr>
          <p:cNvPr id="8" name="Picture 7" descr="TWCo IBM logo_MAIN 4C VEC (2).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305800" y="314910"/>
            <a:ext cx="555896" cy="494130"/>
          </a:xfrm>
          <a:prstGeom prst="rect">
            <a:avLst/>
          </a:prstGeom>
        </p:spPr>
      </p:pic>
    </p:spTree>
    <p:extLst>
      <p:ext uri="{BB962C8B-B14F-4D97-AF65-F5344CB8AC3E}">
        <p14:creationId xmlns:p14="http://schemas.microsoft.com/office/powerpoint/2010/main" val="902316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321993779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Appendi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2" y="1193"/>
          <a:ext cx="1190" cy="1190"/>
        </p:xfrm>
        <a:graphic>
          <a:graphicData uri="http://schemas.openxmlformats.org/presentationml/2006/ole">
            <mc:AlternateContent xmlns:mc="http://schemas.openxmlformats.org/markup-compatibility/2006">
              <mc:Choice xmlns:v="urn:schemas-microsoft-com:vml" Requires="v">
                <p:oleObj spid="_x0000_s311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3"/>
                        <a:ext cx="1190" cy="1190"/>
                      </a:xfrm>
                      <a:prstGeom prst="rect">
                        <a:avLst/>
                      </a:prstGeom>
                    </p:spPr>
                  </p:pic>
                </p:oleObj>
              </mc:Fallback>
            </mc:AlternateContent>
          </a:graphicData>
        </a:graphic>
      </p:graphicFrame>
      <p:sp>
        <p:nvSpPr>
          <p:cNvPr id="2" name="Title 1"/>
          <p:cNvSpPr>
            <a:spLocks noGrp="1"/>
          </p:cNvSpPr>
          <p:nvPr>
            <p:ph type="title" hasCustomPrompt="1"/>
          </p:nvPr>
        </p:nvSpPr>
        <p:spPr>
          <a:xfrm>
            <a:off x="0" y="2222335"/>
            <a:ext cx="9144000" cy="515477"/>
          </a:xfrm>
          <a:solidFill>
            <a:schemeClr val="accent1"/>
          </a:solidFill>
        </p:spPr>
        <p:txBody>
          <a:bodyPr lIns="365760" anchor="ctr"/>
          <a:lstStyle>
            <a:lvl1pPr>
              <a:defRPr baseline="0">
                <a:solidFill>
                  <a:schemeClr val="tx1"/>
                </a:solidFill>
              </a:defRPr>
            </a:lvl1pPr>
          </a:lstStyle>
          <a:p>
            <a:r>
              <a:rPr lang="en-US" dirty="0"/>
              <a:t>Appendix</a:t>
            </a:r>
          </a:p>
        </p:txBody>
      </p:sp>
    </p:spTree>
    <p:extLst>
      <p:ext uri="{BB962C8B-B14F-4D97-AF65-F5344CB8AC3E}">
        <p14:creationId xmlns:p14="http://schemas.microsoft.com/office/powerpoint/2010/main" val="20265308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350268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2" y="1193"/>
          <a:ext cx="1190" cy="1190"/>
        </p:xfrm>
        <a:graphic>
          <a:graphicData uri="http://schemas.openxmlformats.org/presentationml/2006/ole">
            <mc:AlternateContent xmlns:mc="http://schemas.openxmlformats.org/markup-compatibility/2006">
              <mc:Choice xmlns:v="urn:schemas-microsoft-com:vml" Requires="v">
                <p:oleObj spid="_x0000_s414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2" y="1193"/>
                        <a:ext cx="1190" cy="1190"/>
                      </a:xfrm>
                      <a:prstGeom prst="rect">
                        <a:avLst/>
                      </a:prstGeom>
                    </p:spPr>
                  </p:pic>
                </p:oleObj>
              </mc:Fallback>
            </mc:AlternateContent>
          </a:graphicData>
        </a:graphic>
      </p:graphicFrame>
      <p:sp>
        <p:nvSpPr>
          <p:cNvPr id="6" name="Rectangle 13"/>
          <p:cNvSpPr>
            <a:spLocks noGrp="1" noChangeArrowheads="1"/>
          </p:cNvSpPr>
          <p:nvPr>
            <p:ph type="title"/>
          </p:nvPr>
        </p:nvSpPr>
        <p:spPr bwMode="auto">
          <a:xfrm>
            <a:off x="126549" y="543315"/>
            <a:ext cx="8831716" cy="522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defRPr baseline="0"/>
            </a:lvl1pPr>
          </a:lstStyle>
          <a:p>
            <a:pPr lvl="0"/>
            <a:r>
              <a:rPr lang="en-US" dirty="0"/>
              <a:t>Slide title or lead</a:t>
            </a:r>
          </a:p>
        </p:txBody>
      </p:sp>
      <p:sp>
        <p:nvSpPr>
          <p:cNvPr id="7" name="Slide Number Placeholder 2"/>
          <p:cNvSpPr>
            <a:spLocks noGrp="1"/>
          </p:cNvSpPr>
          <p:nvPr>
            <p:ph type="sldNum" sz="quarter" idx="4"/>
          </p:nvPr>
        </p:nvSpPr>
        <p:spPr>
          <a:xfrm>
            <a:off x="63501" y="4949406"/>
            <a:ext cx="317500" cy="136151"/>
          </a:xfrm>
          <a:prstGeom prst="rect">
            <a:avLst/>
          </a:prstGeom>
        </p:spPr>
        <p:txBody>
          <a:bodyPr vert="horz" lIns="0" tIns="0" rIns="0" bIns="0" rtlCol="0" anchor="ctr"/>
          <a:lstStyle>
            <a:lvl1pPr algn="l">
              <a:defRPr sz="900">
                <a:solidFill>
                  <a:schemeClr val="tx1">
                    <a:tint val="75000"/>
                  </a:schemeClr>
                </a:solidFill>
              </a:defRPr>
            </a:lvl1pPr>
          </a:lstStyle>
          <a:p>
            <a:fld id="{D6FF6B59-0E66-4900-A2D5-8392D5496743}" type="slidenum">
              <a:rPr lang="en-US" smtClean="0"/>
              <a:pPr/>
              <a:t>‹#›</a:t>
            </a:fld>
            <a:endParaRPr lang="en-US" dirty="0"/>
          </a:p>
        </p:txBody>
      </p:sp>
    </p:spTree>
    <p:extLst>
      <p:ext uri="{BB962C8B-B14F-4D97-AF65-F5344CB8AC3E}">
        <p14:creationId xmlns:p14="http://schemas.microsoft.com/office/powerpoint/2010/main" val="352685658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2" y="1193"/>
          <a:ext cx="1190" cy="1190"/>
        </p:xfrm>
        <a:graphic>
          <a:graphicData uri="http://schemas.openxmlformats.org/presentationml/2006/ole">
            <mc:AlternateContent xmlns:mc="http://schemas.openxmlformats.org/markup-compatibility/2006">
              <mc:Choice xmlns:v="urn:schemas-microsoft-com:vml" Requires="v">
                <p:oleObj spid="_x0000_s516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2" y="1193"/>
                        <a:ext cx="1190" cy="1190"/>
                      </a:xfrm>
                      <a:prstGeom prst="rect">
                        <a:avLst/>
                      </a:prstGeom>
                    </p:spPr>
                  </p:pic>
                </p:oleObj>
              </mc:Fallback>
            </mc:AlternateContent>
          </a:graphicData>
        </a:graphic>
      </p:graphicFrame>
      <p:sp>
        <p:nvSpPr>
          <p:cNvPr id="6" name="Rectangle 13"/>
          <p:cNvSpPr>
            <a:spLocks noGrp="1" noChangeArrowheads="1"/>
          </p:cNvSpPr>
          <p:nvPr>
            <p:ph type="title"/>
          </p:nvPr>
        </p:nvSpPr>
        <p:spPr bwMode="auto">
          <a:xfrm>
            <a:off x="126549" y="543315"/>
            <a:ext cx="8831716" cy="522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p>
            <a:pPr lvl="0"/>
            <a:r>
              <a:rPr lang="en-US" dirty="0"/>
              <a:t>Slide title or lead</a:t>
            </a:r>
          </a:p>
        </p:txBody>
      </p:sp>
      <p:sp>
        <p:nvSpPr>
          <p:cNvPr id="7" name="Slide Number Placeholder 2"/>
          <p:cNvSpPr>
            <a:spLocks noGrp="1"/>
          </p:cNvSpPr>
          <p:nvPr>
            <p:ph type="sldNum" sz="quarter" idx="4"/>
          </p:nvPr>
        </p:nvSpPr>
        <p:spPr>
          <a:xfrm>
            <a:off x="63501" y="4949406"/>
            <a:ext cx="317500" cy="136151"/>
          </a:xfrm>
          <a:prstGeom prst="rect">
            <a:avLst/>
          </a:prstGeom>
        </p:spPr>
        <p:txBody>
          <a:bodyPr vert="horz" lIns="0" tIns="0" rIns="0" bIns="0" rtlCol="0" anchor="ctr"/>
          <a:lstStyle>
            <a:lvl1pPr algn="l">
              <a:defRPr sz="900">
                <a:solidFill>
                  <a:schemeClr val="tx1">
                    <a:tint val="75000"/>
                  </a:schemeClr>
                </a:solidFill>
              </a:defRPr>
            </a:lvl1pPr>
          </a:lstStyle>
          <a:p>
            <a:fld id="{D6FF6B59-0E66-4900-A2D5-8392D5496743}"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7778752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5" descr="TWCo IBM logo_MAIN 4C VEC.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86750" y="4400550"/>
            <a:ext cx="703263" cy="62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hape 281"/>
          <p:cNvSpPr txBox="1">
            <a:spLocks/>
          </p:cNvSpPr>
          <p:nvPr userDrawn="1"/>
        </p:nvSpPr>
        <p:spPr>
          <a:xfrm>
            <a:off x="476250" y="4705350"/>
            <a:ext cx="171450" cy="282575"/>
          </a:xfrm>
          <a:prstGeom prst="rect">
            <a:avLst/>
          </a:prstGeom>
          <a:ln w="12700">
            <a:miter lim="400000"/>
          </a:ln>
          <a:extLst>
            <a:ext uri="{C572A759-6A51-4108-AA02-DFA0A04FC94B}"/>
          </a:extLst>
        </p:spPr>
        <p:txBody>
          <a:bodyPr wrap="none" lIns="0" tIns="0" rIns="0" bIns="0">
            <a:spAutoFit/>
          </a:bodyPr>
          <a:lstStyle>
            <a:lvl1pPr defTabSz="825500">
              <a:defRPr>
                <a:solidFill>
                  <a:schemeClr val="tx1"/>
                </a:solidFill>
                <a:latin typeface="Arial" panose="020B0604020202020204" pitchFamily="34" charset="0"/>
                <a:cs typeface="Arial" panose="020B0604020202020204" pitchFamily="34" charset="0"/>
              </a:defRPr>
            </a:lvl1pPr>
            <a:lvl2pPr marL="742950" indent="-285750" defTabSz="825500">
              <a:defRPr>
                <a:solidFill>
                  <a:schemeClr val="tx1"/>
                </a:solidFill>
                <a:latin typeface="Arial" panose="020B0604020202020204" pitchFamily="34" charset="0"/>
                <a:cs typeface="Arial" panose="020B0604020202020204" pitchFamily="34" charset="0"/>
              </a:defRPr>
            </a:lvl2pPr>
            <a:lvl3pPr marL="1143000" indent="-228600" defTabSz="825500">
              <a:defRPr>
                <a:solidFill>
                  <a:schemeClr val="tx1"/>
                </a:solidFill>
                <a:latin typeface="Arial" panose="020B0604020202020204" pitchFamily="34" charset="0"/>
                <a:cs typeface="Arial" panose="020B0604020202020204" pitchFamily="34" charset="0"/>
              </a:defRPr>
            </a:lvl3pPr>
            <a:lvl4pPr marL="1600200" indent="-228600" defTabSz="825500">
              <a:defRPr>
                <a:solidFill>
                  <a:schemeClr val="tx1"/>
                </a:solidFill>
                <a:latin typeface="Arial" panose="020B0604020202020204" pitchFamily="34" charset="0"/>
                <a:cs typeface="Arial" panose="020B0604020202020204" pitchFamily="34" charset="0"/>
              </a:defRPr>
            </a:lvl4pPr>
            <a:lvl5pPr marL="2057400" indent="-228600" defTabSz="825500">
              <a:defRPr>
                <a:solidFill>
                  <a:schemeClr val="tx1"/>
                </a:solidFill>
                <a:latin typeface="Arial" panose="020B0604020202020204" pitchFamily="34" charset="0"/>
                <a:cs typeface="Arial" panose="020B0604020202020204" pitchFamily="34" charset="0"/>
              </a:defRPr>
            </a:lvl5pPr>
            <a:lvl6pPr marL="25146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lnSpc>
                <a:spcPts val="2600"/>
              </a:lnSpc>
              <a:defRPr/>
            </a:pPr>
            <a:fld id="{A22C3072-E0A9-45EC-9B19-B3351AE8CE0B}" type="slidenum">
              <a:rPr lang="en-US" altLang="en-US" sz="1100" smtClean="0">
                <a:solidFill>
                  <a:schemeClr val="bg1"/>
                </a:solidFill>
                <a:sym typeface="Avenir Medium"/>
              </a:rPr>
              <a:pPr algn="r" eaLnBrk="1" hangingPunct="1">
                <a:lnSpc>
                  <a:spcPts val="2600"/>
                </a:lnSpc>
                <a:defRPr/>
              </a:pPr>
              <a:t>‹#›</a:t>
            </a:fld>
            <a:endParaRPr lang="en-US" altLang="en-US" sz="1100" dirty="0">
              <a:solidFill>
                <a:schemeClr val="bg1"/>
              </a:solidFill>
              <a:sym typeface="Avenir Medium"/>
            </a:endParaRPr>
          </a:p>
        </p:txBody>
      </p:sp>
      <p:sp>
        <p:nvSpPr>
          <p:cNvPr id="2" name="Title 1"/>
          <p:cNvSpPr>
            <a:spLocks noGrp="1"/>
          </p:cNvSpPr>
          <p:nvPr>
            <p:ph type="title"/>
          </p:nvPr>
        </p:nvSpPr>
        <p:spPr>
          <a:xfrm>
            <a:off x="457200" y="285750"/>
            <a:ext cx="8229600" cy="609600"/>
          </a:xfrm>
        </p:spPr>
        <p:txBody>
          <a:bodyPr/>
          <a:lstStyle/>
          <a:p>
            <a:r>
              <a:rPr lang="en-US" dirty="0"/>
              <a:t>Click to edit Master title style</a:t>
            </a:r>
          </a:p>
        </p:txBody>
      </p:sp>
      <p:sp>
        <p:nvSpPr>
          <p:cNvPr id="3" name="Content Placeholder 2"/>
          <p:cNvSpPr>
            <a:spLocks noGrp="1"/>
          </p:cNvSpPr>
          <p:nvPr>
            <p:ph idx="1"/>
          </p:nvPr>
        </p:nvSpPr>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361028"/>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6" name="Picture 4" descr="TWCo IBM logo_MAIN 4C VEC.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86750" y="4400550"/>
            <a:ext cx="703263" cy="62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hape 281"/>
          <p:cNvSpPr txBox="1">
            <a:spLocks/>
          </p:cNvSpPr>
          <p:nvPr userDrawn="1"/>
        </p:nvSpPr>
        <p:spPr>
          <a:xfrm>
            <a:off x="476250" y="4705350"/>
            <a:ext cx="171450" cy="282575"/>
          </a:xfrm>
          <a:prstGeom prst="rect">
            <a:avLst/>
          </a:prstGeom>
          <a:ln w="12700">
            <a:miter lim="400000"/>
          </a:ln>
          <a:extLst>
            <a:ext uri="{C572A759-6A51-4108-AA02-DFA0A04FC94B}"/>
          </a:extLst>
        </p:spPr>
        <p:txBody>
          <a:bodyPr wrap="none" lIns="0" tIns="0" rIns="0" bIns="0">
            <a:spAutoFit/>
          </a:bodyPr>
          <a:lstStyle>
            <a:lvl1pPr defTabSz="825500">
              <a:defRPr>
                <a:solidFill>
                  <a:schemeClr val="tx1"/>
                </a:solidFill>
                <a:latin typeface="Arial" panose="020B0604020202020204" pitchFamily="34" charset="0"/>
                <a:cs typeface="Arial" panose="020B0604020202020204" pitchFamily="34" charset="0"/>
              </a:defRPr>
            </a:lvl1pPr>
            <a:lvl2pPr marL="742950" indent="-285750" defTabSz="825500">
              <a:defRPr>
                <a:solidFill>
                  <a:schemeClr val="tx1"/>
                </a:solidFill>
                <a:latin typeface="Arial" panose="020B0604020202020204" pitchFamily="34" charset="0"/>
                <a:cs typeface="Arial" panose="020B0604020202020204" pitchFamily="34" charset="0"/>
              </a:defRPr>
            </a:lvl2pPr>
            <a:lvl3pPr marL="1143000" indent="-228600" defTabSz="825500">
              <a:defRPr>
                <a:solidFill>
                  <a:schemeClr val="tx1"/>
                </a:solidFill>
                <a:latin typeface="Arial" panose="020B0604020202020204" pitchFamily="34" charset="0"/>
                <a:cs typeface="Arial" panose="020B0604020202020204" pitchFamily="34" charset="0"/>
              </a:defRPr>
            </a:lvl3pPr>
            <a:lvl4pPr marL="1600200" indent="-228600" defTabSz="825500">
              <a:defRPr>
                <a:solidFill>
                  <a:schemeClr val="tx1"/>
                </a:solidFill>
                <a:latin typeface="Arial" panose="020B0604020202020204" pitchFamily="34" charset="0"/>
                <a:cs typeface="Arial" panose="020B0604020202020204" pitchFamily="34" charset="0"/>
              </a:defRPr>
            </a:lvl4pPr>
            <a:lvl5pPr marL="2057400" indent="-228600" defTabSz="825500">
              <a:defRPr>
                <a:solidFill>
                  <a:schemeClr val="tx1"/>
                </a:solidFill>
                <a:latin typeface="Arial" panose="020B0604020202020204" pitchFamily="34" charset="0"/>
                <a:cs typeface="Arial" panose="020B0604020202020204" pitchFamily="34" charset="0"/>
              </a:defRPr>
            </a:lvl5pPr>
            <a:lvl6pPr marL="25146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lnSpc>
                <a:spcPts val="2600"/>
              </a:lnSpc>
              <a:defRPr/>
            </a:pPr>
            <a:fld id="{1D574031-8ABB-4E73-A4C1-B824EF710A45}" type="slidenum">
              <a:rPr lang="en-US" altLang="en-US" sz="1100" smtClean="0">
                <a:solidFill>
                  <a:schemeClr val="bg1"/>
                </a:solidFill>
                <a:sym typeface="Avenir Medium"/>
              </a:rPr>
              <a:pPr algn="r" eaLnBrk="1" hangingPunct="1">
                <a:lnSpc>
                  <a:spcPts val="2600"/>
                </a:lnSpc>
                <a:defRPr/>
              </a:pPr>
              <a:t>‹#›</a:t>
            </a:fld>
            <a:endParaRPr lang="en-US" altLang="en-US" sz="1100" dirty="0">
              <a:solidFill>
                <a:schemeClr val="bg1"/>
              </a:solidFill>
              <a:sym typeface="Avenir Medium"/>
            </a:endParaRPr>
          </a:p>
        </p:txBody>
      </p:sp>
      <p:sp>
        <p:nvSpPr>
          <p:cNvPr id="3" name="Content Placeholder 2"/>
          <p:cNvSpPr>
            <a:spLocks noGrp="1"/>
          </p:cNvSpPr>
          <p:nvPr>
            <p:ph sz="half" idx="1"/>
          </p:nvPr>
        </p:nvSpPr>
        <p:spPr>
          <a:xfrm>
            <a:off x="457200" y="1200151"/>
            <a:ext cx="4038600" cy="3394472"/>
          </a:xfrm>
        </p:spPr>
        <p:txBody>
          <a:bodyPr/>
          <a:lstStyle>
            <a:lvl1pPr>
              <a:defRPr sz="24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200151"/>
            <a:ext cx="4038600" cy="3394472"/>
          </a:xfrm>
        </p:spPr>
        <p:txBody>
          <a:bodyPr/>
          <a:lstStyle>
            <a:lvl1pPr marL="342900" indent="-342900">
              <a:buFont typeface="Arial" panose="020B0604020202020204" pitchFamily="34" charset="0"/>
              <a:buChar char="•"/>
              <a:defRPr sz="24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756587"/>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TWCo IBM logo_MAIN 4C VEC.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86750" y="4400550"/>
            <a:ext cx="703263" cy="62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hape 281"/>
          <p:cNvSpPr txBox="1">
            <a:spLocks/>
          </p:cNvSpPr>
          <p:nvPr userDrawn="1"/>
        </p:nvSpPr>
        <p:spPr>
          <a:xfrm>
            <a:off x="476250" y="4705350"/>
            <a:ext cx="171450" cy="282575"/>
          </a:xfrm>
          <a:prstGeom prst="rect">
            <a:avLst/>
          </a:prstGeom>
          <a:ln w="12700">
            <a:miter lim="400000"/>
          </a:ln>
          <a:extLst>
            <a:ext uri="{C572A759-6A51-4108-AA02-DFA0A04FC94B}"/>
          </a:extLst>
        </p:spPr>
        <p:txBody>
          <a:bodyPr wrap="none" lIns="0" tIns="0" rIns="0" bIns="0">
            <a:spAutoFit/>
          </a:bodyPr>
          <a:lstStyle>
            <a:lvl1pPr defTabSz="825500">
              <a:defRPr>
                <a:solidFill>
                  <a:schemeClr val="tx1"/>
                </a:solidFill>
                <a:latin typeface="Arial" panose="020B0604020202020204" pitchFamily="34" charset="0"/>
                <a:cs typeface="Arial" panose="020B0604020202020204" pitchFamily="34" charset="0"/>
              </a:defRPr>
            </a:lvl1pPr>
            <a:lvl2pPr marL="742950" indent="-285750" defTabSz="825500">
              <a:defRPr>
                <a:solidFill>
                  <a:schemeClr val="tx1"/>
                </a:solidFill>
                <a:latin typeface="Arial" panose="020B0604020202020204" pitchFamily="34" charset="0"/>
                <a:cs typeface="Arial" panose="020B0604020202020204" pitchFamily="34" charset="0"/>
              </a:defRPr>
            </a:lvl2pPr>
            <a:lvl3pPr marL="1143000" indent="-228600" defTabSz="825500">
              <a:defRPr>
                <a:solidFill>
                  <a:schemeClr val="tx1"/>
                </a:solidFill>
                <a:latin typeface="Arial" panose="020B0604020202020204" pitchFamily="34" charset="0"/>
                <a:cs typeface="Arial" panose="020B0604020202020204" pitchFamily="34" charset="0"/>
              </a:defRPr>
            </a:lvl3pPr>
            <a:lvl4pPr marL="1600200" indent="-228600" defTabSz="825500">
              <a:defRPr>
                <a:solidFill>
                  <a:schemeClr val="tx1"/>
                </a:solidFill>
                <a:latin typeface="Arial" panose="020B0604020202020204" pitchFamily="34" charset="0"/>
                <a:cs typeface="Arial" panose="020B0604020202020204" pitchFamily="34" charset="0"/>
              </a:defRPr>
            </a:lvl4pPr>
            <a:lvl5pPr marL="2057400" indent="-228600" defTabSz="825500">
              <a:defRPr>
                <a:solidFill>
                  <a:schemeClr val="tx1"/>
                </a:solidFill>
                <a:latin typeface="Arial" panose="020B0604020202020204" pitchFamily="34" charset="0"/>
                <a:cs typeface="Arial" panose="020B0604020202020204" pitchFamily="34" charset="0"/>
              </a:defRPr>
            </a:lvl5pPr>
            <a:lvl6pPr marL="25146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lnSpc>
                <a:spcPts val="2600"/>
              </a:lnSpc>
              <a:defRPr/>
            </a:pPr>
            <a:fld id="{C6ACA4FF-9FC0-4AEC-BBAF-31D21D285310}" type="slidenum">
              <a:rPr lang="en-US" altLang="en-US" sz="1100" smtClean="0">
                <a:solidFill>
                  <a:schemeClr val="bg1"/>
                </a:solidFill>
                <a:sym typeface="Avenir Medium"/>
              </a:rPr>
              <a:pPr algn="r" eaLnBrk="1" hangingPunct="1">
                <a:lnSpc>
                  <a:spcPts val="2600"/>
                </a:lnSpc>
                <a:defRPr/>
              </a:pPr>
              <a:t>‹#›</a:t>
            </a:fld>
            <a:endParaRPr lang="en-US" altLang="en-US" sz="1100" dirty="0">
              <a:solidFill>
                <a:schemeClr val="bg1"/>
              </a:solidFill>
              <a:sym typeface="Avenir Medium"/>
            </a:endParaRPr>
          </a:p>
        </p:txBody>
      </p:sp>
      <p:sp>
        <p:nvSpPr>
          <p:cNvPr id="2" name="Title 1"/>
          <p:cNvSpPr>
            <a:spLocks noGrp="1"/>
          </p:cNvSpPr>
          <p:nvPr>
            <p:ph type="title"/>
          </p:nvPr>
        </p:nvSpPr>
        <p:spPr/>
        <p:txBody>
          <a:bodyPr>
            <a:noAutofit/>
          </a:bodyPr>
          <a:lstStyle>
            <a:lvl1pPr>
              <a:defRPr sz="2800"/>
            </a:lvl1pPr>
          </a:lstStyle>
          <a:p>
            <a:r>
              <a:rPr lang="en-US" dirty="0"/>
              <a:t>Click to edit Master title style</a:t>
            </a:r>
          </a:p>
        </p:txBody>
      </p:sp>
      <p:sp>
        <p:nvSpPr>
          <p:cNvPr id="3" name="Text Placeholder 2"/>
          <p:cNvSpPr>
            <a:spLocks noGrp="1"/>
          </p:cNvSpPr>
          <p:nvPr>
            <p:ph type="body" idx="1"/>
          </p:nvPr>
        </p:nvSpPr>
        <p:spPr>
          <a:xfrm>
            <a:off x="457200" y="1151335"/>
            <a:ext cx="4040188" cy="47982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4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6" y="1151335"/>
            <a:ext cx="4041775" cy="47982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4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00873768"/>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4" descr="TWCo IBM logo_MAIN 4C VEC.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86750" y="4400550"/>
            <a:ext cx="703263" cy="62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hape 281"/>
          <p:cNvSpPr txBox="1">
            <a:spLocks/>
          </p:cNvSpPr>
          <p:nvPr userDrawn="1"/>
        </p:nvSpPr>
        <p:spPr>
          <a:xfrm>
            <a:off x="476250" y="4705350"/>
            <a:ext cx="171450" cy="282575"/>
          </a:xfrm>
          <a:prstGeom prst="rect">
            <a:avLst/>
          </a:prstGeom>
          <a:ln w="12700">
            <a:miter lim="400000"/>
          </a:ln>
          <a:extLst>
            <a:ext uri="{C572A759-6A51-4108-AA02-DFA0A04FC94B}"/>
          </a:extLst>
        </p:spPr>
        <p:txBody>
          <a:bodyPr wrap="none" lIns="0" tIns="0" rIns="0" bIns="0">
            <a:spAutoFit/>
          </a:bodyPr>
          <a:lstStyle>
            <a:lvl1pPr defTabSz="825500">
              <a:defRPr>
                <a:solidFill>
                  <a:schemeClr val="tx1"/>
                </a:solidFill>
                <a:latin typeface="Arial" panose="020B0604020202020204" pitchFamily="34" charset="0"/>
                <a:cs typeface="Arial" panose="020B0604020202020204" pitchFamily="34" charset="0"/>
              </a:defRPr>
            </a:lvl1pPr>
            <a:lvl2pPr marL="742950" indent="-285750" defTabSz="825500">
              <a:defRPr>
                <a:solidFill>
                  <a:schemeClr val="tx1"/>
                </a:solidFill>
                <a:latin typeface="Arial" panose="020B0604020202020204" pitchFamily="34" charset="0"/>
                <a:cs typeface="Arial" panose="020B0604020202020204" pitchFamily="34" charset="0"/>
              </a:defRPr>
            </a:lvl2pPr>
            <a:lvl3pPr marL="1143000" indent="-228600" defTabSz="825500">
              <a:defRPr>
                <a:solidFill>
                  <a:schemeClr val="tx1"/>
                </a:solidFill>
                <a:latin typeface="Arial" panose="020B0604020202020204" pitchFamily="34" charset="0"/>
                <a:cs typeface="Arial" panose="020B0604020202020204" pitchFamily="34" charset="0"/>
              </a:defRPr>
            </a:lvl3pPr>
            <a:lvl4pPr marL="1600200" indent="-228600" defTabSz="825500">
              <a:defRPr>
                <a:solidFill>
                  <a:schemeClr val="tx1"/>
                </a:solidFill>
                <a:latin typeface="Arial" panose="020B0604020202020204" pitchFamily="34" charset="0"/>
                <a:cs typeface="Arial" panose="020B0604020202020204" pitchFamily="34" charset="0"/>
              </a:defRPr>
            </a:lvl4pPr>
            <a:lvl5pPr marL="2057400" indent="-228600" defTabSz="825500">
              <a:defRPr>
                <a:solidFill>
                  <a:schemeClr val="tx1"/>
                </a:solidFill>
                <a:latin typeface="Arial" panose="020B0604020202020204" pitchFamily="34" charset="0"/>
                <a:cs typeface="Arial" panose="020B0604020202020204" pitchFamily="34" charset="0"/>
              </a:defRPr>
            </a:lvl5pPr>
            <a:lvl6pPr marL="25146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lnSpc>
                <a:spcPts val="2600"/>
              </a:lnSpc>
              <a:defRPr/>
            </a:pPr>
            <a:fld id="{5EFDC872-766A-448B-9D40-2BA407DD0CF2}" type="slidenum">
              <a:rPr lang="en-US" altLang="en-US" sz="1100" smtClean="0">
                <a:solidFill>
                  <a:schemeClr val="bg1"/>
                </a:solidFill>
                <a:sym typeface="Avenir Medium"/>
              </a:rPr>
              <a:pPr algn="r" eaLnBrk="1" hangingPunct="1">
                <a:lnSpc>
                  <a:spcPts val="2600"/>
                </a:lnSpc>
                <a:defRPr/>
              </a:pPr>
              <a:t>‹#›</a:t>
            </a:fld>
            <a:endParaRPr lang="en-US" altLang="en-US" sz="1100" dirty="0">
              <a:solidFill>
                <a:schemeClr val="bg1"/>
              </a:solidFill>
              <a:sym typeface="Avenir Medium"/>
            </a:endParaRP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665516943"/>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3" descr="TWCo IBM logo_MAIN 4C VEC.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86750" y="4400550"/>
            <a:ext cx="703263" cy="62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hape 281"/>
          <p:cNvSpPr txBox="1">
            <a:spLocks/>
          </p:cNvSpPr>
          <p:nvPr userDrawn="1"/>
        </p:nvSpPr>
        <p:spPr>
          <a:xfrm>
            <a:off x="476250" y="4705350"/>
            <a:ext cx="171450" cy="282575"/>
          </a:xfrm>
          <a:prstGeom prst="rect">
            <a:avLst/>
          </a:prstGeom>
          <a:ln w="12700">
            <a:miter lim="400000"/>
          </a:ln>
          <a:extLst>
            <a:ext uri="{C572A759-6A51-4108-AA02-DFA0A04FC94B}"/>
          </a:extLst>
        </p:spPr>
        <p:txBody>
          <a:bodyPr wrap="none" lIns="0" tIns="0" rIns="0" bIns="0">
            <a:spAutoFit/>
          </a:bodyPr>
          <a:lstStyle>
            <a:lvl1pPr defTabSz="825500">
              <a:defRPr>
                <a:solidFill>
                  <a:schemeClr val="tx1"/>
                </a:solidFill>
                <a:latin typeface="Arial" panose="020B0604020202020204" pitchFamily="34" charset="0"/>
                <a:cs typeface="Arial" panose="020B0604020202020204" pitchFamily="34" charset="0"/>
              </a:defRPr>
            </a:lvl1pPr>
            <a:lvl2pPr marL="742950" indent="-285750" defTabSz="825500">
              <a:defRPr>
                <a:solidFill>
                  <a:schemeClr val="tx1"/>
                </a:solidFill>
                <a:latin typeface="Arial" panose="020B0604020202020204" pitchFamily="34" charset="0"/>
                <a:cs typeface="Arial" panose="020B0604020202020204" pitchFamily="34" charset="0"/>
              </a:defRPr>
            </a:lvl2pPr>
            <a:lvl3pPr marL="1143000" indent="-228600" defTabSz="825500">
              <a:defRPr>
                <a:solidFill>
                  <a:schemeClr val="tx1"/>
                </a:solidFill>
                <a:latin typeface="Arial" panose="020B0604020202020204" pitchFamily="34" charset="0"/>
                <a:cs typeface="Arial" panose="020B0604020202020204" pitchFamily="34" charset="0"/>
              </a:defRPr>
            </a:lvl3pPr>
            <a:lvl4pPr marL="1600200" indent="-228600" defTabSz="825500">
              <a:defRPr>
                <a:solidFill>
                  <a:schemeClr val="tx1"/>
                </a:solidFill>
                <a:latin typeface="Arial" panose="020B0604020202020204" pitchFamily="34" charset="0"/>
                <a:cs typeface="Arial" panose="020B0604020202020204" pitchFamily="34" charset="0"/>
              </a:defRPr>
            </a:lvl4pPr>
            <a:lvl5pPr marL="2057400" indent="-228600" defTabSz="825500">
              <a:defRPr>
                <a:solidFill>
                  <a:schemeClr val="tx1"/>
                </a:solidFill>
                <a:latin typeface="Arial" panose="020B0604020202020204" pitchFamily="34" charset="0"/>
                <a:cs typeface="Arial" panose="020B0604020202020204" pitchFamily="34" charset="0"/>
              </a:defRPr>
            </a:lvl5pPr>
            <a:lvl6pPr marL="25146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lnSpc>
                <a:spcPts val="2600"/>
              </a:lnSpc>
              <a:defRPr/>
            </a:pPr>
            <a:fld id="{53C629B0-5ED2-49E1-BD44-A49891A06420}" type="slidenum">
              <a:rPr lang="en-US" altLang="en-US" sz="1100" smtClean="0">
                <a:solidFill>
                  <a:schemeClr val="bg1"/>
                </a:solidFill>
                <a:sym typeface="Avenir Medium"/>
              </a:rPr>
              <a:pPr algn="r" eaLnBrk="1" hangingPunct="1">
                <a:lnSpc>
                  <a:spcPts val="2600"/>
                </a:lnSpc>
                <a:defRPr/>
              </a:pPr>
              <a:t>‹#›</a:t>
            </a:fld>
            <a:endParaRPr lang="en-US" altLang="en-US" sz="1100" dirty="0">
              <a:solidFill>
                <a:schemeClr val="bg1"/>
              </a:solidFill>
              <a:sym typeface="Avenir Medium"/>
            </a:endParaRPr>
          </a:p>
        </p:txBody>
      </p:sp>
    </p:spTree>
    <p:extLst>
      <p:ext uri="{BB962C8B-B14F-4D97-AF65-F5344CB8AC3E}">
        <p14:creationId xmlns:p14="http://schemas.microsoft.com/office/powerpoint/2010/main" val="1799636737"/>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9140824" cy="5143492"/>
          </a:xfrm>
          <a:prstGeom prst="rect">
            <a:avLst/>
          </a:prstGeom>
        </p:spPr>
      </p:pic>
      <p:sp>
        <p:nvSpPr>
          <p:cNvPr id="14" name="Rectangle 13"/>
          <p:cNvSpPr>
            <a:spLocks noChangeArrowheads="1"/>
          </p:cNvSpPr>
          <p:nvPr userDrawn="1"/>
        </p:nvSpPr>
        <p:spPr bwMode="auto">
          <a:xfrm rot="16200000">
            <a:off x="-400049" y="400044"/>
            <a:ext cx="5143491" cy="4343398"/>
          </a:xfrm>
          <a:prstGeom prst="rect">
            <a:avLst/>
          </a:prstGeom>
          <a:solidFill>
            <a:schemeClr val="bg1">
              <a:alpha val="85000"/>
            </a:schemeClr>
          </a:solidFill>
          <a:ln>
            <a:noFill/>
          </a:ln>
          <a:extLst/>
        </p:spPr>
        <p:txBody>
          <a:bodyPr/>
          <a:lstStyle/>
          <a:p>
            <a:pPr algn="ctr"/>
            <a:r>
              <a:rPr lang="en-US" dirty="0">
                <a:latin typeface="Arial"/>
                <a:ea typeface="Arial"/>
                <a:cs typeface="Arial"/>
              </a:rPr>
              <a:t>    </a:t>
            </a:r>
          </a:p>
        </p:txBody>
      </p:sp>
      <p:pic>
        <p:nvPicPr>
          <p:cNvPr id="15" name="Picture 14" descr="TWCo IBM logo_MAIN 4C VEC (2).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2400" y="4476750"/>
            <a:ext cx="555896" cy="494130"/>
          </a:xfrm>
          <a:prstGeom prst="rect">
            <a:avLst/>
          </a:prstGeom>
        </p:spPr>
      </p:pic>
    </p:spTree>
    <p:extLst>
      <p:ext uri="{BB962C8B-B14F-4D97-AF65-F5344CB8AC3E}">
        <p14:creationId xmlns:p14="http://schemas.microsoft.com/office/powerpoint/2010/main" val="153909292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71950"/>
        </a:solidFill>
        <a:effectLst/>
      </p:bgPr>
    </p:bg>
    <p:spTree>
      <p:nvGrpSpPr>
        <p:cNvPr id="1" name=""/>
        <p:cNvGrpSpPr/>
        <p:nvPr/>
      </p:nvGrpSpPr>
      <p:grpSpPr>
        <a:xfrm>
          <a:off x="0" y="0"/>
          <a:ext cx="0" cy="0"/>
          <a:chOff x="0" y="0"/>
          <a:chExt cx="0" cy="0"/>
        </a:xfrm>
      </p:grpSpPr>
      <p:sp>
        <p:nvSpPr>
          <p:cNvPr id="3" name="Rectangle 2"/>
          <p:cNvSpPr/>
          <p:nvPr userDrawn="1"/>
        </p:nvSpPr>
        <p:spPr>
          <a:xfrm>
            <a:off x="7924800" y="4629150"/>
            <a:ext cx="1143000" cy="457200"/>
          </a:xfrm>
          <a:prstGeom prst="rect">
            <a:avLst/>
          </a:prstGeom>
          <a:solidFill>
            <a:srgbClr val="0719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pic>
        <p:nvPicPr>
          <p:cNvPr id="4" name="Picture 6" descr="TWCo IBM logo_MAIN WHITE VEC.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88338" y="4384675"/>
            <a:ext cx="703262" cy="62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6"/>
          <p:cNvSpPr txBox="1">
            <a:spLocks noChangeArrowheads="1"/>
          </p:cNvSpPr>
          <p:nvPr userDrawn="1"/>
        </p:nvSpPr>
        <p:spPr bwMode="auto">
          <a:xfrm>
            <a:off x="3962400" y="4837113"/>
            <a:ext cx="1557338"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900"/>
              <a:t>IBM Internal &amp; Confidential</a:t>
            </a: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33310369"/>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2_Blank">
    <p:bg>
      <p:bgPr>
        <a:solidFill>
          <a:srgbClr val="071950"/>
        </a:solidFill>
        <a:effectLst/>
      </p:bgPr>
    </p:bg>
    <p:spTree>
      <p:nvGrpSpPr>
        <p:cNvPr id="1" name=""/>
        <p:cNvGrpSpPr/>
        <p:nvPr/>
      </p:nvGrpSpPr>
      <p:grpSpPr>
        <a:xfrm>
          <a:off x="0" y="0"/>
          <a:ext cx="0" cy="0"/>
          <a:chOff x="0" y="0"/>
          <a:chExt cx="0" cy="0"/>
        </a:xfrm>
      </p:grpSpPr>
      <p:sp>
        <p:nvSpPr>
          <p:cNvPr id="2" name="Rectangle 3"/>
          <p:cNvSpPr/>
          <p:nvPr userDrawn="1"/>
        </p:nvSpPr>
        <p:spPr>
          <a:xfrm>
            <a:off x="7924800" y="4629150"/>
            <a:ext cx="1143000" cy="457200"/>
          </a:xfrm>
          <a:prstGeom prst="rect">
            <a:avLst/>
          </a:prstGeom>
          <a:solidFill>
            <a:srgbClr val="0719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pic>
        <p:nvPicPr>
          <p:cNvPr id="3" name="Picture 5" descr="TWCo IBM logo_MAIN WHITE VEC.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88338" y="4384675"/>
            <a:ext cx="703262" cy="62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6"/>
          <p:cNvSpPr txBox="1">
            <a:spLocks noChangeArrowheads="1"/>
          </p:cNvSpPr>
          <p:nvPr userDrawn="1"/>
        </p:nvSpPr>
        <p:spPr bwMode="auto">
          <a:xfrm>
            <a:off x="3962400" y="4837113"/>
            <a:ext cx="1557338"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900"/>
              <a:t>IBM Internal &amp; Confidential</a:t>
            </a:r>
          </a:p>
        </p:txBody>
      </p:sp>
    </p:spTree>
    <p:extLst>
      <p:ext uri="{BB962C8B-B14F-4D97-AF65-F5344CB8AC3E}">
        <p14:creationId xmlns:p14="http://schemas.microsoft.com/office/powerpoint/2010/main" val="4218040446"/>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381"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1518" name="think-cell Slide" r:id="rId5" imgW="360" imgH="360" progId="TCLayout.ActiveDocument.1">
                  <p:embed/>
                </p:oleObj>
              </mc:Choice>
              <mc:Fallback>
                <p:oleObj name="think-cell Slide" r:id="rId5" imgW="360" imgH="360" progId="TCLayout.ActiveDocument.1">
                  <p:embed/>
                  <p:pic>
                    <p:nvPicPr>
                      <p:cNvPr id="5"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 name="Group 11"/>
          <p:cNvGrpSpPr>
            <a:grpSpLocks/>
          </p:cNvGrpSpPr>
          <p:nvPr userDrawn="1"/>
        </p:nvGrpSpPr>
        <p:grpSpPr bwMode="auto">
          <a:xfrm>
            <a:off x="5438775" y="296466"/>
            <a:ext cx="3493294" cy="881063"/>
            <a:chOff x="3515267" y="2617470"/>
            <a:chExt cx="4227659" cy="1066800"/>
          </a:xfrm>
        </p:grpSpPr>
        <p:pic>
          <p:nvPicPr>
            <p:cNvPr id="7" name="Picture 2230" descr="http://imagination.ucsd.edu/img/logo/ibm.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3515267" y="2617470"/>
              <a:ext cx="2495295"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13"/>
            <p:cNvCxnSpPr>
              <a:cxnSpLocks noChangeShapeType="1"/>
            </p:cNvCxnSpPr>
            <p:nvPr userDrawn="1"/>
          </p:nvCxnSpPr>
          <p:spPr bwMode="auto">
            <a:xfrm>
              <a:off x="6297930" y="2665095"/>
              <a:ext cx="11430" cy="971550"/>
            </a:xfrm>
            <a:prstGeom prst="line">
              <a:avLst/>
            </a:prstGeom>
            <a:noFill/>
            <a:ln w="57150" algn="ctr">
              <a:solidFill>
                <a:srgbClr val="1F70C1"/>
              </a:solidFill>
              <a:round/>
              <a:headEnd/>
              <a:tailEnd/>
            </a:ln>
            <a:extLst>
              <a:ext uri="{909E8E84-426E-40DD-AFC4-6F175D3DCCD1}">
                <a14:hiddenFill xmlns:a14="http://schemas.microsoft.com/office/drawing/2010/main">
                  <a:noFill/>
                </a14:hiddenFill>
              </a:ext>
            </a:extLst>
          </p:spPr>
        </p:cxnSp>
        <p:pic>
          <p:nvPicPr>
            <p:cNvPr id="9" name="Picture 14"/>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596728" y="2617470"/>
              <a:ext cx="1146198" cy="101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Rectangle 36"/>
          <p:cNvSpPr>
            <a:spLocks noChangeArrowheads="1"/>
          </p:cNvSpPr>
          <p:nvPr userDrawn="1"/>
        </p:nvSpPr>
        <p:spPr bwMode="auto">
          <a:xfrm>
            <a:off x="0" y="4900613"/>
            <a:ext cx="358379" cy="146447"/>
          </a:xfrm>
          <a:prstGeom prst="rect">
            <a:avLst/>
          </a:prstGeom>
          <a:solidFill>
            <a:srgbClr val="000000">
              <a:alpha val="1176"/>
            </a:srgbClr>
          </a:solidFill>
          <a:ln>
            <a:noFill/>
          </a:ln>
          <a:extLst/>
        </p:spPr>
        <p:txBody>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algn="r" eaLnBrk="1" hangingPunct="1">
              <a:defRPr/>
            </a:pPr>
            <a:fld id="{B14E9784-B554-48AA-989B-BFE899F028BE}" type="slidenum">
              <a:rPr kumimoji="0" lang="en-US" altLang="en-US" sz="600" smtClean="0">
                <a:solidFill>
                  <a:srgbClr val="FFFFFF"/>
                </a:solidFill>
              </a:rPr>
              <a:pPr algn="r" eaLnBrk="1" hangingPunct="1">
                <a:defRPr/>
              </a:pPr>
              <a:t>‹#›</a:t>
            </a:fld>
            <a:endParaRPr kumimoji="0" lang="en-US" altLang="en-US" sz="600">
              <a:solidFill>
                <a:srgbClr val="FFFFFF"/>
              </a:solidFill>
            </a:endParaRPr>
          </a:p>
        </p:txBody>
      </p:sp>
      <p:sp>
        <p:nvSpPr>
          <p:cNvPr id="11" name="Rectangle 15"/>
          <p:cNvSpPr>
            <a:spLocks noChangeArrowheads="1"/>
          </p:cNvSpPr>
          <p:nvPr userDrawn="1"/>
        </p:nvSpPr>
        <p:spPr bwMode="auto">
          <a:xfrm>
            <a:off x="1971675" y="4036219"/>
            <a:ext cx="7172325" cy="682229"/>
          </a:xfrm>
          <a:prstGeom prst="rect">
            <a:avLst/>
          </a:prstGeom>
          <a:solidFill>
            <a:schemeClr val="bg1">
              <a:alpha val="72000"/>
            </a:schemeClr>
          </a:solidFill>
          <a:ln>
            <a:noFill/>
          </a:ln>
          <a:effectLst/>
          <a:extLst/>
        </p:spPr>
        <p:txBody>
          <a:bodyPr wrap="none" anchor="ctr"/>
          <a:lstStyle>
            <a:lvl1pPr eaLnBrk="0" hangingPunct="0">
              <a:defRPr b="1">
                <a:solidFill>
                  <a:schemeClr val="tx1"/>
                </a:solidFill>
                <a:latin typeface="Arial" pitchFamily="34" charset="0"/>
                <a:cs typeface="Arial" pitchFamily="34" charset="0"/>
              </a:defRPr>
            </a:lvl1pPr>
            <a:lvl2pPr marL="742950" indent="-285750" eaLnBrk="0" hangingPunct="0">
              <a:defRPr b="1">
                <a:solidFill>
                  <a:schemeClr val="tx1"/>
                </a:solidFill>
                <a:latin typeface="Arial" pitchFamily="34" charset="0"/>
                <a:cs typeface="Arial" pitchFamily="34" charset="0"/>
              </a:defRPr>
            </a:lvl2pPr>
            <a:lvl3pPr marL="1143000" indent="-228600" eaLnBrk="0" hangingPunct="0">
              <a:defRPr b="1">
                <a:solidFill>
                  <a:schemeClr val="tx1"/>
                </a:solidFill>
                <a:latin typeface="Arial" pitchFamily="34" charset="0"/>
                <a:cs typeface="Arial" pitchFamily="34" charset="0"/>
              </a:defRPr>
            </a:lvl3pPr>
            <a:lvl4pPr marL="1600200" indent="-228600" eaLnBrk="0" hangingPunct="0">
              <a:defRPr b="1">
                <a:solidFill>
                  <a:schemeClr val="tx1"/>
                </a:solidFill>
                <a:latin typeface="Arial" pitchFamily="34" charset="0"/>
                <a:cs typeface="Arial" pitchFamily="34" charset="0"/>
              </a:defRPr>
            </a:lvl4pPr>
            <a:lvl5pPr marL="2057400" indent="-228600" eaLnBrk="0" hangingPunct="0">
              <a:defRPr b="1">
                <a:solidFill>
                  <a:schemeClr val="tx1"/>
                </a:solidFill>
                <a:latin typeface="Arial" pitchFamily="34" charset="0"/>
                <a:cs typeface="Arial" pitchFamily="34" charset="0"/>
              </a:defRPr>
            </a:lvl5pPr>
            <a:lvl6pPr marL="2514600" indent="-228600" algn="r" eaLnBrk="0" fontAlgn="base" hangingPunct="0">
              <a:spcBef>
                <a:spcPct val="0"/>
              </a:spcBef>
              <a:spcAft>
                <a:spcPct val="0"/>
              </a:spcAft>
              <a:defRPr b="1">
                <a:solidFill>
                  <a:schemeClr val="tx1"/>
                </a:solidFill>
                <a:latin typeface="Arial" pitchFamily="34" charset="0"/>
                <a:cs typeface="Arial" pitchFamily="34" charset="0"/>
              </a:defRPr>
            </a:lvl6pPr>
            <a:lvl7pPr marL="2971800" indent="-228600" algn="r" eaLnBrk="0" fontAlgn="base" hangingPunct="0">
              <a:spcBef>
                <a:spcPct val="0"/>
              </a:spcBef>
              <a:spcAft>
                <a:spcPct val="0"/>
              </a:spcAft>
              <a:defRPr b="1">
                <a:solidFill>
                  <a:schemeClr val="tx1"/>
                </a:solidFill>
                <a:latin typeface="Arial" pitchFamily="34" charset="0"/>
                <a:cs typeface="Arial" pitchFamily="34" charset="0"/>
              </a:defRPr>
            </a:lvl7pPr>
            <a:lvl8pPr marL="3429000" indent="-228600" algn="r" eaLnBrk="0" fontAlgn="base" hangingPunct="0">
              <a:spcBef>
                <a:spcPct val="0"/>
              </a:spcBef>
              <a:spcAft>
                <a:spcPct val="0"/>
              </a:spcAft>
              <a:defRPr b="1">
                <a:solidFill>
                  <a:schemeClr val="tx1"/>
                </a:solidFill>
                <a:latin typeface="Arial" pitchFamily="34" charset="0"/>
                <a:cs typeface="Arial" pitchFamily="34" charset="0"/>
              </a:defRPr>
            </a:lvl8pPr>
            <a:lvl9pPr marL="3886200" indent="-228600" algn="r" eaLnBrk="0" fontAlgn="base" hangingPunct="0">
              <a:spcBef>
                <a:spcPct val="0"/>
              </a:spcBef>
              <a:spcAft>
                <a:spcPct val="0"/>
              </a:spcAft>
              <a:defRPr b="1">
                <a:solidFill>
                  <a:schemeClr val="tx1"/>
                </a:solidFill>
                <a:latin typeface="Arial" pitchFamily="34" charset="0"/>
                <a:cs typeface="Arial" pitchFamily="34" charset="0"/>
              </a:defRPr>
            </a:lvl9pPr>
          </a:lstStyle>
          <a:p>
            <a:pPr algn="ctr" eaLnBrk="1" hangingPunct="1">
              <a:defRPr/>
            </a:pPr>
            <a:endParaRPr kumimoji="0" lang="en-US" altLang="en-US" sz="1350" dirty="0">
              <a:solidFill>
                <a:schemeClr val="bg1"/>
              </a:solidFill>
              <a:ea typeface="+mn-ea"/>
            </a:endParaRPr>
          </a:p>
        </p:txBody>
      </p:sp>
      <p:sp>
        <p:nvSpPr>
          <p:cNvPr id="3074" name="Rectangle 2"/>
          <p:cNvSpPr>
            <a:spLocks noGrp="1" noChangeArrowheads="1"/>
          </p:cNvSpPr>
          <p:nvPr>
            <p:ph type="ctrTitle"/>
          </p:nvPr>
        </p:nvSpPr>
        <p:spPr>
          <a:xfrm>
            <a:off x="2035970" y="4352929"/>
            <a:ext cx="6919913" cy="343736"/>
          </a:xfrm>
          <a:solidFill>
            <a:srgbClr val="FFFFFF">
              <a:alpha val="999"/>
            </a:srgbClr>
          </a:solidFill>
        </p:spPr>
        <p:txBody>
          <a:bodyPr lIns="0" tIns="0" rIns="0" bIns="0" anchor="ctr"/>
          <a:lstStyle>
            <a:lvl1pPr>
              <a:defRPr sz="1200" b="0" baseline="0">
                <a:solidFill>
                  <a:schemeClr val="tx1"/>
                </a:solidFill>
              </a:defRPr>
            </a:lvl1pPr>
          </a:lstStyle>
          <a:p>
            <a:r>
              <a:rPr lang="en-US" dirty="0"/>
              <a:t>Click to edit Master title style</a:t>
            </a:r>
          </a:p>
        </p:txBody>
      </p:sp>
      <p:sp>
        <p:nvSpPr>
          <p:cNvPr id="3075" name="Rectangle 3"/>
          <p:cNvSpPr>
            <a:spLocks noGrp="1" noChangeArrowheads="1"/>
          </p:cNvSpPr>
          <p:nvPr>
            <p:ph type="subTitle" idx="1"/>
          </p:nvPr>
        </p:nvSpPr>
        <p:spPr>
          <a:xfrm>
            <a:off x="2035970" y="4071938"/>
            <a:ext cx="6919913" cy="252413"/>
          </a:xfrm>
          <a:solidFill>
            <a:srgbClr val="000000">
              <a:alpha val="999"/>
            </a:srgbClr>
          </a:solidFill>
        </p:spPr>
        <p:txBody>
          <a:bodyPr lIns="0" tIns="0" rIns="0" bIns="0" anchor="ctr"/>
          <a:lstStyle>
            <a:lvl1pPr marL="0" indent="0">
              <a:buFont typeface="Wingdings" pitchFamily="2" charset="2"/>
              <a:buNone/>
              <a:defRPr sz="2100" b="1" baseline="0">
                <a:solidFill>
                  <a:schemeClr val="tx1"/>
                </a:solidFill>
              </a:defRPr>
            </a:lvl1pPr>
          </a:lstStyle>
          <a:p>
            <a:r>
              <a:rPr lang="en-US" dirty="0"/>
              <a:t>Click to edit Master subtitle style</a:t>
            </a:r>
          </a:p>
        </p:txBody>
      </p:sp>
    </p:spTree>
    <p:extLst>
      <p:ext uri="{BB962C8B-B14F-4D97-AF65-F5344CB8AC3E}">
        <p14:creationId xmlns:p14="http://schemas.microsoft.com/office/powerpoint/2010/main" val="206693213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chemeClr val="tx1">
                    <a:lumMod val="65000"/>
                    <a:lumOff val="35000"/>
                  </a:schemeClr>
                </a:solidFill>
                <a:latin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baseline="0">
                <a:solidFill>
                  <a:schemeClr val="tx1">
                    <a:lumMod val="75000"/>
                    <a:lumOff val="25000"/>
                  </a:schemeClr>
                </a:solidFill>
                <a:latin typeface="Arial" panose="020B0604020202020204" pitchFamily="34" charset="0"/>
              </a:defRPr>
            </a:lvl1pPr>
            <a:lvl2pPr>
              <a:defRPr baseline="0">
                <a:solidFill>
                  <a:schemeClr val="tx1">
                    <a:lumMod val="75000"/>
                    <a:lumOff val="25000"/>
                  </a:schemeClr>
                </a:solidFill>
                <a:latin typeface="Arial" panose="020B0604020202020204" pitchFamily="34" charset="0"/>
              </a:defRPr>
            </a:lvl2pPr>
            <a:lvl3pPr>
              <a:defRPr baseline="0">
                <a:solidFill>
                  <a:schemeClr val="tx1">
                    <a:lumMod val="75000"/>
                    <a:lumOff val="25000"/>
                  </a:schemeClr>
                </a:solidFill>
                <a:latin typeface="Arial" panose="020B0604020202020204" pitchFamily="34" charset="0"/>
              </a:defRPr>
            </a:lvl3pPr>
            <a:lvl4pPr>
              <a:defRPr baseline="0">
                <a:solidFill>
                  <a:schemeClr val="tx1">
                    <a:lumMod val="75000"/>
                    <a:lumOff val="25000"/>
                  </a:schemeClr>
                </a:solidFill>
                <a:latin typeface="Arial" panose="020B0604020202020204" pitchFamily="34" charset="0"/>
              </a:defRPr>
            </a:lvl4pPr>
            <a:lvl5pPr>
              <a:defRPr baseline="0">
                <a:solidFill>
                  <a:schemeClr val="tx1">
                    <a:lumMod val="75000"/>
                    <a:lumOff val="25000"/>
                  </a:schemeClr>
                </a:solidFill>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871650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8"/>
            <a:ext cx="7772400" cy="1021556"/>
          </a:xfrm>
        </p:spPr>
        <p:txBody>
          <a:bodyPr/>
          <a:lstStyle>
            <a:lvl1pPr algn="l">
              <a:defRPr sz="3000" b="1" cap="all" baseline="0">
                <a:solidFill>
                  <a:schemeClr val="tx1">
                    <a:lumMod val="75000"/>
                    <a:lumOff val="25000"/>
                  </a:schemeClr>
                </a:solidFill>
              </a:defRPr>
            </a:lvl1pPr>
          </a:lstStyle>
          <a:p>
            <a:r>
              <a:rPr lang="en-US" dirty="0"/>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baseline="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dirty="0"/>
              <a:t>Click to edit Master text styles</a:t>
            </a:r>
          </a:p>
        </p:txBody>
      </p:sp>
    </p:spTree>
    <p:extLst>
      <p:ext uri="{BB962C8B-B14F-4D97-AF65-F5344CB8AC3E}">
        <p14:creationId xmlns:p14="http://schemas.microsoft.com/office/powerpoint/2010/main" val="156528206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chemeClr val="tx1">
                    <a:lumMod val="75000"/>
                    <a:lumOff val="25000"/>
                  </a:schemeClr>
                </a:solidFill>
              </a:defRPr>
            </a:lvl1pPr>
          </a:lstStyle>
          <a:p>
            <a:r>
              <a:rPr lang="en-US" dirty="0"/>
              <a:t>Click to edit Master title style</a:t>
            </a:r>
          </a:p>
        </p:txBody>
      </p:sp>
    </p:spTree>
    <p:extLst>
      <p:ext uri="{BB962C8B-B14F-4D97-AF65-F5344CB8AC3E}">
        <p14:creationId xmlns:p14="http://schemas.microsoft.com/office/powerpoint/2010/main" val="140778552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625540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10834" y="1074932"/>
            <a:ext cx="8559404" cy="3933825"/>
          </a:xfrm>
        </p:spPr>
        <p:txBody>
          <a:bodyPr/>
          <a:lstStyle>
            <a:lvl1pPr>
              <a:defRPr baseline="0">
                <a:latin typeface="Arial" panose="020B0604020202020204" pitchFamily="34" charset="0"/>
              </a:defRPr>
            </a:lvl1pPr>
            <a:lvl2pPr>
              <a:defRPr baseline="0">
                <a:latin typeface="Arial" panose="020B0604020202020204" pitchFamily="34" charset="0"/>
              </a:defRPr>
            </a:lvl2pPr>
            <a:lvl3pPr>
              <a:defRPr baseline="0">
                <a:latin typeface="Arial" panose="020B0604020202020204" pitchFamily="34" charset="0"/>
              </a:defRPr>
            </a:lvl3pPr>
            <a:lvl4pPr>
              <a:defRPr baseline="0">
                <a:latin typeface="Arial" panose="020B0604020202020204" pitchFamily="34" charset="0"/>
              </a:defRPr>
            </a:lvl4pPr>
            <a:lvl5pPr>
              <a:defRPr baseline="0">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08840" y="467025"/>
            <a:ext cx="8559404" cy="514350"/>
          </a:xfrm>
        </p:spPr>
        <p:txBody>
          <a:bodyPr/>
          <a:lstStyle>
            <a:lvl1pPr>
              <a:defRPr baseline="0">
                <a:solidFill>
                  <a:srgbClr val="00649D"/>
                </a:solidFill>
                <a:latin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349691881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212379476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741156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9144000" cy="5143501"/>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414"/>
            <a:ext cx="6226983" cy="5143500"/>
          </a:xfrm>
          <a:prstGeom prst="rect">
            <a:avLst/>
          </a:prstGeom>
        </p:spPr>
      </p:pic>
      <p:pic>
        <p:nvPicPr>
          <p:cNvPr id="10" name="Picture 9" descr="TWCo IBM logo_MAIN 4C VEC (2).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2400" y="4476750"/>
            <a:ext cx="555896" cy="494130"/>
          </a:xfrm>
          <a:prstGeom prst="rect">
            <a:avLst/>
          </a:prstGeom>
        </p:spPr>
      </p:pic>
    </p:spTree>
    <p:extLst>
      <p:ext uri="{BB962C8B-B14F-4D97-AF65-F5344CB8AC3E}">
        <p14:creationId xmlns:p14="http://schemas.microsoft.com/office/powerpoint/2010/main" val="10231560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pic>
        <p:nvPicPr>
          <p:cNvPr id="2" name="Picture 1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81"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userDrawn="1"/>
        </p:nvSpPr>
        <p:spPr>
          <a:xfrm>
            <a:off x="7848600" y="4171950"/>
            <a:ext cx="1295400" cy="971550"/>
          </a:xfrm>
          <a:prstGeom prst="rect">
            <a:avLst/>
          </a:prstGeom>
          <a:solidFill>
            <a:srgbClr val="FFC000">
              <a:alpha val="8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p>
        </p:txBody>
      </p:sp>
      <p:pic>
        <p:nvPicPr>
          <p:cNvPr id="4" name="Picture 10"/>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101013" y="4271963"/>
            <a:ext cx="866775" cy="77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1690852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3560" name="think-cell Slide" r:id="rId5" imgW="360" imgH="360" progId="TCLayout.ActiveDocument.1">
                  <p:embed/>
                </p:oleObj>
              </mc:Choice>
              <mc:Fallback>
                <p:oleObj name="think-cell Slide" r:id="rId5" imgW="360" imgH="360" progId="TCLayout.ActiveDocument.1">
                  <p:embed/>
                  <p:pic>
                    <p:nvPicPr>
                      <p:cNvPr id="5"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 name="Group 11"/>
          <p:cNvGrpSpPr>
            <a:grpSpLocks/>
          </p:cNvGrpSpPr>
          <p:nvPr userDrawn="1"/>
        </p:nvGrpSpPr>
        <p:grpSpPr bwMode="auto">
          <a:xfrm>
            <a:off x="2575323" y="507207"/>
            <a:ext cx="3993356" cy="1007269"/>
            <a:chOff x="3515267" y="2617470"/>
            <a:chExt cx="4227659" cy="1066800"/>
          </a:xfrm>
        </p:grpSpPr>
        <p:pic>
          <p:nvPicPr>
            <p:cNvPr id="7" name="Picture 2230" descr="http://imagination.ucsd.edu/img/logo/ibm.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3515267" y="2617470"/>
              <a:ext cx="2495295"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13"/>
            <p:cNvCxnSpPr>
              <a:cxnSpLocks noChangeShapeType="1"/>
            </p:cNvCxnSpPr>
            <p:nvPr userDrawn="1"/>
          </p:nvCxnSpPr>
          <p:spPr bwMode="auto">
            <a:xfrm>
              <a:off x="6297930" y="2665095"/>
              <a:ext cx="11430" cy="971550"/>
            </a:xfrm>
            <a:prstGeom prst="line">
              <a:avLst/>
            </a:prstGeom>
            <a:noFill/>
            <a:ln w="57150">
              <a:solidFill>
                <a:srgbClr val="1F70C1"/>
              </a:solidFill>
              <a:round/>
              <a:headEnd/>
              <a:tailEnd/>
            </a:ln>
            <a:extLst>
              <a:ext uri="{909E8E84-426E-40DD-AFC4-6F175D3DCCD1}">
                <a14:hiddenFill xmlns:a14="http://schemas.microsoft.com/office/drawing/2010/main">
                  <a:noFill/>
                </a14:hiddenFill>
              </a:ext>
            </a:extLst>
          </p:spPr>
        </p:cxnSp>
        <p:pic>
          <p:nvPicPr>
            <p:cNvPr id="9" name="Picture 14"/>
            <p:cNvPicPr>
              <a:picLocks noChangeAspect="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6596728" y="2617470"/>
              <a:ext cx="1146198" cy="101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Rectangle 36"/>
          <p:cNvSpPr>
            <a:spLocks noChangeArrowheads="1"/>
          </p:cNvSpPr>
          <p:nvPr userDrawn="1"/>
        </p:nvSpPr>
        <p:spPr bwMode="auto">
          <a:xfrm>
            <a:off x="0" y="4900613"/>
            <a:ext cx="358379" cy="146447"/>
          </a:xfrm>
          <a:prstGeom prst="rect">
            <a:avLst/>
          </a:prstGeom>
          <a:solidFill>
            <a:srgbClr val="000000">
              <a:alpha val="1176"/>
            </a:srgbClr>
          </a:solidFill>
          <a:ln>
            <a:noFill/>
          </a:ln>
          <a:extLst/>
        </p:spPr>
        <p:txBody>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algn="r" eaLnBrk="1" hangingPunct="1">
              <a:defRPr/>
            </a:pPr>
            <a:fld id="{F4A091E2-58A6-4E72-8430-E7FFF698B371}" type="slidenum">
              <a:rPr kumimoji="0" lang="en-US" altLang="en-US" sz="600" smtClean="0">
                <a:solidFill>
                  <a:srgbClr val="FFFFFF"/>
                </a:solidFill>
              </a:rPr>
              <a:pPr algn="r" eaLnBrk="1" hangingPunct="1">
                <a:defRPr/>
              </a:pPr>
              <a:t>‹#›</a:t>
            </a:fld>
            <a:endParaRPr kumimoji="0" lang="en-US" altLang="en-US" sz="600">
              <a:solidFill>
                <a:srgbClr val="FFFFFF"/>
              </a:solidFill>
            </a:endParaRPr>
          </a:p>
        </p:txBody>
      </p:sp>
      <p:sp>
        <p:nvSpPr>
          <p:cNvPr id="11" name="Rectangle 15"/>
          <p:cNvSpPr>
            <a:spLocks noChangeArrowheads="1"/>
          </p:cNvSpPr>
          <p:nvPr userDrawn="1"/>
        </p:nvSpPr>
        <p:spPr bwMode="auto">
          <a:xfrm>
            <a:off x="0" y="4036219"/>
            <a:ext cx="1971675" cy="682229"/>
          </a:xfrm>
          <a:prstGeom prst="rect">
            <a:avLst/>
          </a:prstGeom>
          <a:solidFill>
            <a:srgbClr val="0167BB"/>
          </a:solidFill>
          <a:ln>
            <a:noFill/>
          </a:ln>
          <a:effectLst/>
          <a:extLst/>
        </p:spPr>
        <p:txBody>
          <a:bodyPr wrap="none" anchor="ctr"/>
          <a:lstStyle>
            <a:lvl1pPr eaLnBrk="0" hangingPunct="0">
              <a:defRPr b="1">
                <a:solidFill>
                  <a:schemeClr val="tx1"/>
                </a:solidFill>
                <a:latin typeface="Arial" pitchFamily="34" charset="0"/>
                <a:cs typeface="Arial" pitchFamily="34" charset="0"/>
              </a:defRPr>
            </a:lvl1pPr>
            <a:lvl2pPr marL="742950" indent="-285750" eaLnBrk="0" hangingPunct="0">
              <a:defRPr b="1">
                <a:solidFill>
                  <a:schemeClr val="tx1"/>
                </a:solidFill>
                <a:latin typeface="Arial" pitchFamily="34" charset="0"/>
                <a:cs typeface="Arial" pitchFamily="34" charset="0"/>
              </a:defRPr>
            </a:lvl2pPr>
            <a:lvl3pPr marL="1143000" indent="-228600" eaLnBrk="0" hangingPunct="0">
              <a:defRPr b="1">
                <a:solidFill>
                  <a:schemeClr val="tx1"/>
                </a:solidFill>
                <a:latin typeface="Arial" pitchFamily="34" charset="0"/>
                <a:cs typeface="Arial" pitchFamily="34" charset="0"/>
              </a:defRPr>
            </a:lvl3pPr>
            <a:lvl4pPr marL="1600200" indent="-228600" eaLnBrk="0" hangingPunct="0">
              <a:defRPr b="1">
                <a:solidFill>
                  <a:schemeClr val="tx1"/>
                </a:solidFill>
                <a:latin typeface="Arial" pitchFamily="34" charset="0"/>
                <a:cs typeface="Arial" pitchFamily="34" charset="0"/>
              </a:defRPr>
            </a:lvl4pPr>
            <a:lvl5pPr marL="2057400" indent="-228600" eaLnBrk="0" hangingPunct="0">
              <a:defRPr b="1">
                <a:solidFill>
                  <a:schemeClr val="tx1"/>
                </a:solidFill>
                <a:latin typeface="Arial" pitchFamily="34" charset="0"/>
                <a:cs typeface="Arial" pitchFamily="34" charset="0"/>
              </a:defRPr>
            </a:lvl5pPr>
            <a:lvl6pPr marL="2514600" indent="-228600" algn="r" eaLnBrk="0" fontAlgn="base" hangingPunct="0">
              <a:spcBef>
                <a:spcPct val="0"/>
              </a:spcBef>
              <a:spcAft>
                <a:spcPct val="0"/>
              </a:spcAft>
              <a:defRPr b="1">
                <a:solidFill>
                  <a:schemeClr val="tx1"/>
                </a:solidFill>
                <a:latin typeface="Arial" pitchFamily="34" charset="0"/>
                <a:cs typeface="Arial" pitchFamily="34" charset="0"/>
              </a:defRPr>
            </a:lvl6pPr>
            <a:lvl7pPr marL="2971800" indent="-228600" algn="r" eaLnBrk="0" fontAlgn="base" hangingPunct="0">
              <a:spcBef>
                <a:spcPct val="0"/>
              </a:spcBef>
              <a:spcAft>
                <a:spcPct val="0"/>
              </a:spcAft>
              <a:defRPr b="1">
                <a:solidFill>
                  <a:schemeClr val="tx1"/>
                </a:solidFill>
                <a:latin typeface="Arial" pitchFamily="34" charset="0"/>
                <a:cs typeface="Arial" pitchFamily="34" charset="0"/>
              </a:defRPr>
            </a:lvl7pPr>
            <a:lvl8pPr marL="3429000" indent="-228600" algn="r" eaLnBrk="0" fontAlgn="base" hangingPunct="0">
              <a:spcBef>
                <a:spcPct val="0"/>
              </a:spcBef>
              <a:spcAft>
                <a:spcPct val="0"/>
              </a:spcAft>
              <a:defRPr b="1">
                <a:solidFill>
                  <a:schemeClr val="tx1"/>
                </a:solidFill>
                <a:latin typeface="Arial" pitchFamily="34" charset="0"/>
                <a:cs typeface="Arial" pitchFamily="34" charset="0"/>
              </a:defRPr>
            </a:lvl8pPr>
            <a:lvl9pPr marL="3886200" indent="-228600" algn="r" eaLnBrk="0" fontAlgn="base" hangingPunct="0">
              <a:spcBef>
                <a:spcPct val="0"/>
              </a:spcBef>
              <a:spcAft>
                <a:spcPct val="0"/>
              </a:spcAft>
              <a:defRPr b="1">
                <a:solidFill>
                  <a:schemeClr val="tx1"/>
                </a:solidFill>
                <a:latin typeface="Arial" pitchFamily="34" charset="0"/>
                <a:cs typeface="Arial" pitchFamily="34" charset="0"/>
              </a:defRPr>
            </a:lvl9pPr>
          </a:lstStyle>
          <a:p>
            <a:pPr algn="ctr" eaLnBrk="1" hangingPunct="1">
              <a:defRPr/>
            </a:pPr>
            <a:r>
              <a:rPr kumimoji="0" lang="en-US" altLang="en-US" sz="1350" dirty="0">
                <a:solidFill>
                  <a:srgbClr val="FFFFFF"/>
                </a:solidFill>
                <a:ea typeface="MS PGothic" charset="-128"/>
              </a:rPr>
              <a:t>IBM Strategy </a:t>
            </a:r>
          </a:p>
          <a:p>
            <a:pPr algn="ctr" eaLnBrk="1" hangingPunct="1">
              <a:defRPr/>
            </a:pPr>
            <a:r>
              <a:rPr kumimoji="0" lang="en-US" altLang="en-US" sz="1350" dirty="0">
                <a:solidFill>
                  <a:srgbClr val="FFFFFF"/>
                </a:solidFill>
                <a:ea typeface="MS PGothic" charset="-128"/>
              </a:rPr>
              <a:t>&amp; Analytics</a:t>
            </a:r>
            <a:endParaRPr kumimoji="0" lang="en-US" altLang="en-US" sz="1275" dirty="0">
              <a:solidFill>
                <a:srgbClr val="FFFFFF"/>
              </a:solidFill>
              <a:ea typeface="MS PGothic" charset="-128"/>
            </a:endParaRPr>
          </a:p>
        </p:txBody>
      </p:sp>
      <p:sp>
        <p:nvSpPr>
          <p:cNvPr id="12" name="Rectangle 15"/>
          <p:cNvSpPr>
            <a:spLocks noChangeArrowheads="1"/>
          </p:cNvSpPr>
          <p:nvPr userDrawn="1"/>
        </p:nvSpPr>
        <p:spPr bwMode="auto">
          <a:xfrm>
            <a:off x="1971675" y="4036219"/>
            <a:ext cx="7172325" cy="682229"/>
          </a:xfrm>
          <a:prstGeom prst="rect">
            <a:avLst/>
          </a:prstGeom>
          <a:solidFill>
            <a:schemeClr val="bg1"/>
          </a:solidFill>
          <a:ln>
            <a:noFill/>
          </a:ln>
          <a:effectLst/>
          <a:extLst/>
        </p:spPr>
        <p:txBody>
          <a:bodyPr wrap="none" anchor="ctr"/>
          <a:lstStyle>
            <a:lvl1pPr eaLnBrk="0" hangingPunct="0">
              <a:defRPr b="1">
                <a:solidFill>
                  <a:schemeClr val="tx1"/>
                </a:solidFill>
                <a:latin typeface="Arial" pitchFamily="34" charset="0"/>
                <a:cs typeface="Arial" pitchFamily="34" charset="0"/>
              </a:defRPr>
            </a:lvl1pPr>
            <a:lvl2pPr marL="742950" indent="-285750" eaLnBrk="0" hangingPunct="0">
              <a:defRPr b="1">
                <a:solidFill>
                  <a:schemeClr val="tx1"/>
                </a:solidFill>
                <a:latin typeface="Arial" pitchFamily="34" charset="0"/>
                <a:cs typeface="Arial" pitchFamily="34" charset="0"/>
              </a:defRPr>
            </a:lvl2pPr>
            <a:lvl3pPr marL="1143000" indent="-228600" eaLnBrk="0" hangingPunct="0">
              <a:defRPr b="1">
                <a:solidFill>
                  <a:schemeClr val="tx1"/>
                </a:solidFill>
                <a:latin typeface="Arial" pitchFamily="34" charset="0"/>
                <a:cs typeface="Arial" pitchFamily="34" charset="0"/>
              </a:defRPr>
            </a:lvl3pPr>
            <a:lvl4pPr marL="1600200" indent="-228600" eaLnBrk="0" hangingPunct="0">
              <a:defRPr b="1">
                <a:solidFill>
                  <a:schemeClr val="tx1"/>
                </a:solidFill>
                <a:latin typeface="Arial" pitchFamily="34" charset="0"/>
                <a:cs typeface="Arial" pitchFamily="34" charset="0"/>
              </a:defRPr>
            </a:lvl4pPr>
            <a:lvl5pPr marL="2057400" indent="-228600" eaLnBrk="0" hangingPunct="0">
              <a:defRPr b="1">
                <a:solidFill>
                  <a:schemeClr val="tx1"/>
                </a:solidFill>
                <a:latin typeface="Arial" pitchFamily="34" charset="0"/>
                <a:cs typeface="Arial" pitchFamily="34" charset="0"/>
              </a:defRPr>
            </a:lvl5pPr>
            <a:lvl6pPr marL="2514600" indent="-228600" algn="r" eaLnBrk="0" fontAlgn="base" hangingPunct="0">
              <a:spcBef>
                <a:spcPct val="0"/>
              </a:spcBef>
              <a:spcAft>
                <a:spcPct val="0"/>
              </a:spcAft>
              <a:defRPr b="1">
                <a:solidFill>
                  <a:schemeClr val="tx1"/>
                </a:solidFill>
                <a:latin typeface="Arial" pitchFamily="34" charset="0"/>
                <a:cs typeface="Arial" pitchFamily="34" charset="0"/>
              </a:defRPr>
            </a:lvl6pPr>
            <a:lvl7pPr marL="2971800" indent="-228600" algn="r" eaLnBrk="0" fontAlgn="base" hangingPunct="0">
              <a:spcBef>
                <a:spcPct val="0"/>
              </a:spcBef>
              <a:spcAft>
                <a:spcPct val="0"/>
              </a:spcAft>
              <a:defRPr b="1">
                <a:solidFill>
                  <a:schemeClr val="tx1"/>
                </a:solidFill>
                <a:latin typeface="Arial" pitchFamily="34" charset="0"/>
                <a:cs typeface="Arial" pitchFamily="34" charset="0"/>
              </a:defRPr>
            </a:lvl7pPr>
            <a:lvl8pPr marL="3429000" indent="-228600" algn="r" eaLnBrk="0" fontAlgn="base" hangingPunct="0">
              <a:spcBef>
                <a:spcPct val="0"/>
              </a:spcBef>
              <a:spcAft>
                <a:spcPct val="0"/>
              </a:spcAft>
              <a:defRPr b="1">
                <a:solidFill>
                  <a:schemeClr val="tx1"/>
                </a:solidFill>
                <a:latin typeface="Arial" pitchFamily="34" charset="0"/>
                <a:cs typeface="Arial" pitchFamily="34" charset="0"/>
              </a:defRPr>
            </a:lvl8pPr>
            <a:lvl9pPr marL="3886200" indent="-228600" algn="r" eaLnBrk="0" fontAlgn="base" hangingPunct="0">
              <a:spcBef>
                <a:spcPct val="0"/>
              </a:spcBef>
              <a:spcAft>
                <a:spcPct val="0"/>
              </a:spcAft>
              <a:defRPr b="1">
                <a:solidFill>
                  <a:schemeClr val="tx1"/>
                </a:solidFill>
                <a:latin typeface="Arial" pitchFamily="34" charset="0"/>
                <a:cs typeface="Arial" pitchFamily="34" charset="0"/>
              </a:defRPr>
            </a:lvl9pPr>
          </a:lstStyle>
          <a:p>
            <a:pPr algn="ctr" eaLnBrk="1" hangingPunct="1">
              <a:defRPr/>
            </a:pPr>
            <a:endParaRPr kumimoji="0" lang="en-US" altLang="en-US" sz="1350" dirty="0">
              <a:solidFill>
                <a:srgbClr val="FFFFFF"/>
              </a:solidFill>
              <a:ea typeface="MS PGothic" charset="-128"/>
            </a:endParaRPr>
          </a:p>
        </p:txBody>
      </p:sp>
      <p:sp>
        <p:nvSpPr>
          <p:cNvPr id="3074" name="Rectangle 2"/>
          <p:cNvSpPr>
            <a:spLocks noGrp="1" noChangeArrowheads="1"/>
          </p:cNvSpPr>
          <p:nvPr>
            <p:ph type="ctrTitle"/>
          </p:nvPr>
        </p:nvSpPr>
        <p:spPr>
          <a:xfrm>
            <a:off x="2035970" y="4352929"/>
            <a:ext cx="6919913" cy="343736"/>
          </a:xfrm>
          <a:solidFill>
            <a:srgbClr val="FFFFFF">
              <a:alpha val="999"/>
            </a:srgbClr>
          </a:solidFill>
        </p:spPr>
        <p:txBody>
          <a:bodyPr lIns="0" tIns="0" rIns="0" bIns="0" anchor="ctr"/>
          <a:lstStyle>
            <a:lvl1pPr>
              <a:defRPr sz="1200" b="0" baseline="0">
                <a:solidFill>
                  <a:schemeClr val="tx1"/>
                </a:solidFill>
              </a:defRPr>
            </a:lvl1pPr>
          </a:lstStyle>
          <a:p>
            <a:r>
              <a:rPr lang="en-US"/>
              <a:t>Click to edit Master title style</a:t>
            </a:r>
            <a:endParaRPr lang="en-US" dirty="0"/>
          </a:p>
        </p:txBody>
      </p:sp>
      <p:sp>
        <p:nvSpPr>
          <p:cNvPr id="3075" name="Rectangle 3"/>
          <p:cNvSpPr>
            <a:spLocks noGrp="1" noChangeArrowheads="1"/>
          </p:cNvSpPr>
          <p:nvPr>
            <p:ph type="subTitle" idx="1"/>
          </p:nvPr>
        </p:nvSpPr>
        <p:spPr>
          <a:xfrm>
            <a:off x="2035970" y="4071938"/>
            <a:ext cx="6919913" cy="252413"/>
          </a:xfrm>
          <a:solidFill>
            <a:srgbClr val="000000">
              <a:alpha val="999"/>
            </a:srgbClr>
          </a:solidFill>
        </p:spPr>
        <p:txBody>
          <a:bodyPr lIns="0" tIns="0" rIns="0" bIns="0" anchor="ctr"/>
          <a:lstStyle>
            <a:lvl1pPr marL="0" indent="0">
              <a:buFont typeface="Wingdings" pitchFamily="2" charset="2"/>
              <a:buNone/>
              <a:defRPr sz="2100" b="1" baseline="0">
                <a:solidFill>
                  <a:schemeClr val="tx1"/>
                </a:solidFill>
              </a:defRPr>
            </a:lvl1pPr>
          </a:lstStyle>
          <a:p>
            <a:r>
              <a:rPr lang="en-US"/>
              <a:t>Click to edit Master subtitle style</a:t>
            </a:r>
            <a:endParaRPr lang="en-US" dirty="0"/>
          </a:p>
        </p:txBody>
      </p:sp>
    </p:spTree>
    <p:extLst>
      <p:ext uri="{BB962C8B-B14F-4D97-AF65-F5344CB8AC3E}">
        <p14:creationId xmlns:p14="http://schemas.microsoft.com/office/powerpoint/2010/main" val="91613109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chemeClr val="tx1">
                    <a:lumMod val="65000"/>
                    <a:lumOff val="35000"/>
                  </a:schemeClr>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baseline="0">
                <a:solidFill>
                  <a:schemeClr val="tx1">
                    <a:lumMod val="75000"/>
                    <a:lumOff val="25000"/>
                  </a:schemeClr>
                </a:solidFill>
                <a:latin typeface="Arial" panose="020B0604020202020204" pitchFamily="34" charset="0"/>
              </a:defRPr>
            </a:lvl1pPr>
            <a:lvl2pPr>
              <a:defRPr baseline="0">
                <a:solidFill>
                  <a:schemeClr val="tx1">
                    <a:lumMod val="75000"/>
                    <a:lumOff val="25000"/>
                  </a:schemeClr>
                </a:solidFill>
                <a:latin typeface="Arial" panose="020B0604020202020204" pitchFamily="34" charset="0"/>
              </a:defRPr>
            </a:lvl2pPr>
            <a:lvl3pPr>
              <a:defRPr baseline="0">
                <a:solidFill>
                  <a:schemeClr val="tx1">
                    <a:lumMod val="75000"/>
                    <a:lumOff val="25000"/>
                  </a:schemeClr>
                </a:solidFill>
                <a:latin typeface="Arial" panose="020B0604020202020204" pitchFamily="34" charset="0"/>
              </a:defRPr>
            </a:lvl3pPr>
            <a:lvl4pPr>
              <a:defRPr baseline="0">
                <a:solidFill>
                  <a:schemeClr val="tx1">
                    <a:lumMod val="75000"/>
                    <a:lumOff val="25000"/>
                  </a:schemeClr>
                </a:solidFill>
                <a:latin typeface="Arial" panose="020B0604020202020204" pitchFamily="34" charset="0"/>
              </a:defRPr>
            </a:lvl4pPr>
            <a:lvl5pPr>
              <a:defRPr baseline="0">
                <a:solidFill>
                  <a:schemeClr val="tx1">
                    <a:lumMod val="75000"/>
                    <a:lumOff val="25000"/>
                  </a:schemeClr>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456042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8"/>
            <a:ext cx="7772400" cy="1021556"/>
          </a:xfrm>
        </p:spPr>
        <p:txBody>
          <a:bodyPr/>
          <a:lstStyle>
            <a:lvl1pPr algn="l">
              <a:defRPr sz="3000" b="1" cap="all" baseline="0">
                <a:solidFill>
                  <a:schemeClr val="tx1">
                    <a:lumMod val="75000"/>
                    <a:lumOff val="2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baseline="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Tree>
    <p:extLst>
      <p:ext uri="{BB962C8B-B14F-4D97-AF65-F5344CB8AC3E}">
        <p14:creationId xmlns:p14="http://schemas.microsoft.com/office/powerpoint/2010/main" val="301768113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chemeClr val="tx1">
                    <a:lumMod val="75000"/>
                    <a:lumOff val="25000"/>
                  </a:schemeClr>
                </a:solidFill>
              </a:defRPr>
            </a:lvl1pPr>
          </a:lstStyle>
          <a:p>
            <a:r>
              <a:rPr lang="en-US"/>
              <a:t>Click to edit Master title style</a:t>
            </a:r>
            <a:endParaRPr lang="en-US" dirty="0"/>
          </a:p>
        </p:txBody>
      </p:sp>
    </p:spTree>
    <p:extLst>
      <p:ext uri="{BB962C8B-B14F-4D97-AF65-F5344CB8AC3E}">
        <p14:creationId xmlns:p14="http://schemas.microsoft.com/office/powerpoint/2010/main" val="283365665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Only" preserve="1">
  <p:cSld name="Appendix">
    <p:spTree>
      <p:nvGrpSpPr>
        <p:cNvPr id="1" name=""/>
        <p:cNvGrpSpPr/>
        <p:nvPr/>
      </p:nvGrpSpPr>
      <p:grpSpPr>
        <a:xfrm>
          <a:off x="0" y="0"/>
          <a:ext cx="0" cy="0"/>
          <a:chOff x="0" y="0"/>
          <a:chExt cx="0" cy="0"/>
        </a:xfrm>
      </p:grpSpPr>
      <p:graphicFrame>
        <p:nvGraphicFramePr>
          <p:cNvPr id="3" name="Object 1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4590" name="think-cell Slide" r:id="rId5" imgW="360" imgH="360" progId="TCLayout.ActiveDocument.1">
                  <p:embed/>
                </p:oleObj>
              </mc:Choice>
              <mc:Fallback>
                <p:oleObj name="think-cell Slide" r:id="rId5" imgW="360" imgH="360" progId="TCLayout.ActiveDocument.1">
                  <p:embed/>
                  <p:pic>
                    <p:nvPicPr>
                      <p:cNvPr id="3" name="Object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p:cNvSpPr>
            <a:spLocks noChangeArrowheads="1"/>
          </p:cNvSpPr>
          <p:nvPr/>
        </p:nvSpPr>
        <p:spPr bwMode="auto">
          <a:xfrm>
            <a:off x="95250" y="4976813"/>
            <a:ext cx="171450" cy="113110"/>
          </a:xfrm>
          <a:prstGeom prst="rect">
            <a:avLst/>
          </a:prstGeom>
          <a:solidFill>
            <a:srgbClr val="000000">
              <a:alpha val="999"/>
            </a:srgbClr>
          </a:solidFill>
          <a:ln w="9525">
            <a:noFill/>
            <a:miter lim="800000"/>
            <a:headEnd/>
            <a:tailEnd/>
          </a:ln>
          <a:effectLst/>
        </p:spPr>
        <p:txBody>
          <a:bodyPr lIns="0" tIns="0" rIns="0" bIns="0"/>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eaLnBrk="1" hangingPunct="1">
              <a:defRPr/>
            </a:pPr>
            <a:fld id="{D138DA78-1956-4D1E-A0A6-7130DF3F0ED6}" type="slidenum">
              <a:rPr kumimoji="0" lang="en-US" altLang="en-US" sz="600" smtClean="0">
                <a:solidFill>
                  <a:srgbClr val="595959"/>
                </a:solidFill>
              </a:rPr>
              <a:pPr eaLnBrk="1" hangingPunct="1">
                <a:defRPr/>
              </a:pPr>
              <a:t>‹#›</a:t>
            </a:fld>
            <a:endParaRPr kumimoji="0" lang="en-US" altLang="en-US" sz="600">
              <a:solidFill>
                <a:srgbClr val="595959"/>
              </a:solidFill>
            </a:endParaRPr>
          </a:p>
        </p:txBody>
      </p:sp>
      <p:sp>
        <p:nvSpPr>
          <p:cNvPr id="5" name="Rectangle 6"/>
          <p:cNvSpPr>
            <a:spLocks noChangeArrowheads="1"/>
          </p:cNvSpPr>
          <p:nvPr/>
        </p:nvSpPr>
        <p:spPr bwMode="black">
          <a:xfrm>
            <a:off x="7230666" y="4968479"/>
            <a:ext cx="1619250" cy="121444"/>
          </a:xfrm>
          <a:prstGeom prst="rect">
            <a:avLst/>
          </a:prstGeom>
          <a:noFill/>
          <a:ln w="9525">
            <a:noFill/>
            <a:miter lim="800000"/>
            <a:headEnd/>
            <a:tailEnd/>
          </a:ln>
        </p:spPr>
        <p:txBody>
          <a:bodyPr lIns="69056" tIns="34529" rIns="69056" bIns="34529"/>
          <a:lstStyle>
            <a:lvl1pPr eaLnBrk="0" hangingPunct="0">
              <a:defRPr b="1">
                <a:solidFill>
                  <a:schemeClr val="tx1"/>
                </a:solidFill>
                <a:latin typeface="Arial" pitchFamily="34" charset="0"/>
                <a:cs typeface="Arial" pitchFamily="34" charset="0"/>
              </a:defRPr>
            </a:lvl1pPr>
            <a:lvl2pPr marL="742950" indent="-285750" eaLnBrk="0" hangingPunct="0">
              <a:defRPr b="1">
                <a:solidFill>
                  <a:schemeClr val="tx1"/>
                </a:solidFill>
                <a:latin typeface="Arial" pitchFamily="34" charset="0"/>
                <a:cs typeface="Arial" pitchFamily="34" charset="0"/>
              </a:defRPr>
            </a:lvl2pPr>
            <a:lvl3pPr marL="1143000" indent="-228600" eaLnBrk="0" hangingPunct="0">
              <a:defRPr b="1">
                <a:solidFill>
                  <a:schemeClr val="tx1"/>
                </a:solidFill>
                <a:latin typeface="Arial" pitchFamily="34" charset="0"/>
                <a:cs typeface="Arial" pitchFamily="34" charset="0"/>
              </a:defRPr>
            </a:lvl3pPr>
            <a:lvl4pPr marL="1600200" indent="-228600" eaLnBrk="0" hangingPunct="0">
              <a:defRPr b="1">
                <a:solidFill>
                  <a:schemeClr val="tx1"/>
                </a:solidFill>
                <a:latin typeface="Arial" pitchFamily="34" charset="0"/>
                <a:cs typeface="Arial" pitchFamily="34" charset="0"/>
              </a:defRPr>
            </a:lvl4pPr>
            <a:lvl5pPr marL="2057400" indent="-228600" eaLnBrk="0" hangingPunct="0">
              <a:defRPr b="1">
                <a:solidFill>
                  <a:schemeClr val="tx1"/>
                </a:solidFill>
                <a:latin typeface="Arial" pitchFamily="34" charset="0"/>
                <a:cs typeface="Arial" pitchFamily="34" charset="0"/>
              </a:defRPr>
            </a:lvl5pPr>
            <a:lvl6pPr marL="2514600" indent="-228600" algn="r" eaLnBrk="0" fontAlgn="base" hangingPunct="0">
              <a:spcBef>
                <a:spcPct val="0"/>
              </a:spcBef>
              <a:spcAft>
                <a:spcPct val="0"/>
              </a:spcAft>
              <a:defRPr b="1">
                <a:solidFill>
                  <a:schemeClr val="tx1"/>
                </a:solidFill>
                <a:latin typeface="Arial" pitchFamily="34" charset="0"/>
                <a:cs typeface="Arial" pitchFamily="34" charset="0"/>
              </a:defRPr>
            </a:lvl6pPr>
            <a:lvl7pPr marL="2971800" indent="-228600" algn="r" eaLnBrk="0" fontAlgn="base" hangingPunct="0">
              <a:spcBef>
                <a:spcPct val="0"/>
              </a:spcBef>
              <a:spcAft>
                <a:spcPct val="0"/>
              </a:spcAft>
              <a:defRPr b="1">
                <a:solidFill>
                  <a:schemeClr val="tx1"/>
                </a:solidFill>
                <a:latin typeface="Arial" pitchFamily="34" charset="0"/>
                <a:cs typeface="Arial" pitchFamily="34" charset="0"/>
              </a:defRPr>
            </a:lvl7pPr>
            <a:lvl8pPr marL="3429000" indent="-228600" algn="r" eaLnBrk="0" fontAlgn="base" hangingPunct="0">
              <a:spcBef>
                <a:spcPct val="0"/>
              </a:spcBef>
              <a:spcAft>
                <a:spcPct val="0"/>
              </a:spcAft>
              <a:defRPr b="1">
                <a:solidFill>
                  <a:schemeClr val="tx1"/>
                </a:solidFill>
                <a:latin typeface="Arial" pitchFamily="34" charset="0"/>
                <a:cs typeface="Arial" pitchFamily="34" charset="0"/>
              </a:defRPr>
            </a:lvl8pPr>
            <a:lvl9pPr marL="3886200" indent="-228600" algn="r" eaLnBrk="0" fontAlgn="base" hangingPunct="0">
              <a:spcBef>
                <a:spcPct val="0"/>
              </a:spcBef>
              <a:spcAft>
                <a:spcPct val="0"/>
              </a:spcAft>
              <a:defRPr b="1">
                <a:solidFill>
                  <a:schemeClr val="tx1"/>
                </a:solidFill>
                <a:latin typeface="Arial" pitchFamily="34" charset="0"/>
                <a:cs typeface="Arial" pitchFamily="34" charset="0"/>
              </a:defRPr>
            </a:lvl9pPr>
          </a:lstStyle>
          <a:p>
            <a:pPr algn="ctr" eaLnBrk="1" hangingPunct="1">
              <a:defRPr/>
            </a:pPr>
            <a:r>
              <a:rPr kumimoji="0" lang="en-US" altLang="en-US" sz="600" b="0" dirty="0">
                <a:solidFill>
                  <a:srgbClr val="000000">
                    <a:lumMod val="65000"/>
                    <a:lumOff val="35000"/>
                  </a:srgbClr>
                </a:solidFill>
                <a:ea typeface="MS PGothic" charset="-128"/>
              </a:rPr>
              <a:t> IBM Corporation Confidential</a:t>
            </a:r>
          </a:p>
        </p:txBody>
      </p:sp>
      <p:pic>
        <p:nvPicPr>
          <p:cNvPr id="6" name="Picture 7" descr="logo-lockup.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281863" y="19050"/>
            <a:ext cx="1343025" cy="341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1" descr="logo-lockup.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8634412" y="19050"/>
            <a:ext cx="120254" cy="340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p:cNvCxnSpPr/>
          <p:nvPr userDrawn="1"/>
        </p:nvCxnSpPr>
        <p:spPr>
          <a:xfrm>
            <a:off x="266700" y="432197"/>
            <a:ext cx="8877300" cy="0"/>
          </a:xfrm>
          <a:prstGeom prst="line">
            <a:avLst/>
          </a:prstGeom>
          <a:ln w="12700">
            <a:solidFill>
              <a:srgbClr val="F7B400"/>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Object 3"/>
          <p:cNvGraphicFramePr>
            <a:graphicFrameLocks noChangeAspect="1"/>
          </p:cNvGraphicFramePr>
          <p:nvPr>
            <p:custDataLst>
              <p:tags r:id="rId3"/>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4591" name="think-cell Slide" r:id="rId9" imgW="360" imgH="360" progId="">
                  <p:embed/>
                </p:oleObj>
              </mc:Choice>
              <mc:Fallback>
                <p:oleObj name="think-cell Slide" r:id="rId9" imgW="360" imgH="360" progId="">
                  <p:embed/>
                  <p:pic>
                    <p:nvPicPr>
                      <p:cNvPr id="9" name="Object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0" y="2222335"/>
            <a:ext cx="9144000" cy="515477"/>
          </a:xfrm>
          <a:solidFill>
            <a:schemeClr val="accent1"/>
          </a:solidFill>
        </p:spPr>
        <p:txBody>
          <a:bodyPr lIns="365760" anchor="ctr"/>
          <a:lstStyle>
            <a:lvl1pPr>
              <a:defRPr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5101864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547284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75000"/>
                    <a:lumOff val="25000"/>
                  </a:schemeClr>
                </a:solidFill>
              </a:defRPr>
            </a:lvl1pPr>
          </a:lstStyle>
          <a:p>
            <a:r>
              <a:rPr lang="en-US"/>
              <a:t>Click to edit Master title style</a:t>
            </a:r>
            <a:endParaRPr lang="en-US" dirty="0"/>
          </a:p>
        </p:txBody>
      </p:sp>
    </p:spTree>
    <p:extLst>
      <p:ext uri="{BB962C8B-B14F-4D97-AF65-F5344CB8AC3E}">
        <p14:creationId xmlns:p14="http://schemas.microsoft.com/office/powerpoint/2010/main" val="346595329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649D"/>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baseline="0">
                <a:latin typeface="Arial" panose="020B0604020202020204" pitchFamily="34" charset="0"/>
              </a:defRPr>
            </a:lvl1pPr>
            <a:lvl2pPr>
              <a:defRPr baseline="0">
                <a:latin typeface="Arial" panose="020B0604020202020204" pitchFamily="34" charset="0"/>
              </a:defRPr>
            </a:lvl2pPr>
            <a:lvl3pPr>
              <a:defRPr baseline="0">
                <a:latin typeface="Arial" panose="020B0604020202020204" pitchFamily="34" charset="0"/>
              </a:defRPr>
            </a:lvl3pPr>
            <a:lvl4pPr>
              <a:defRPr baseline="0">
                <a:latin typeface="Arial" panose="020B0604020202020204" pitchFamily="34" charset="0"/>
              </a:defRPr>
            </a:lvl4pPr>
            <a:lvl5pPr>
              <a:defRPr baseline="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254258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Tree>
    <p:extLst>
      <p:ext uri="{BB962C8B-B14F-4D97-AF65-F5344CB8AC3E}">
        <p14:creationId xmlns:p14="http://schemas.microsoft.com/office/powerpoint/2010/main" val="50189551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Default Content Layout 2">
    <p:bg>
      <p:bgPr>
        <a:solidFill>
          <a:schemeClr val="bg1">
            <a:alpha val="55000"/>
          </a:schemeClr>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radius="75"/>
                    </a14:imgEffect>
                  </a14:imgLayer>
                </a14:imgProps>
              </a:ext>
              <a:ext uri="{28A0092B-C50C-407E-A947-70E740481C1C}">
                <a14:useLocalDpi xmlns:a14="http://schemas.microsoft.com/office/drawing/2010/main"/>
              </a:ext>
            </a:extLst>
          </a:blip>
          <a:srcRect/>
          <a:stretch/>
        </p:blipFill>
        <p:spPr>
          <a:xfrm>
            <a:off x="-2" y="-1"/>
            <a:ext cx="9144000" cy="1123952"/>
          </a:xfrm>
          <a:prstGeom prst="rect">
            <a:avLst/>
          </a:prstGeom>
        </p:spPr>
      </p:pic>
      <p:pic>
        <p:nvPicPr>
          <p:cNvPr id="2" name="Picture 1"/>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1123950"/>
            <a:ext cx="9144000" cy="4019549"/>
          </a:xfrm>
          <a:prstGeom prst="rect">
            <a:avLst/>
          </a:prstGeom>
        </p:spPr>
      </p:pic>
      <p:sp>
        <p:nvSpPr>
          <p:cNvPr id="9" name="Rectangle 8"/>
          <p:cNvSpPr>
            <a:spLocks noChangeArrowheads="1"/>
          </p:cNvSpPr>
          <p:nvPr userDrawn="1"/>
        </p:nvSpPr>
        <p:spPr bwMode="auto">
          <a:xfrm rot="16200000">
            <a:off x="4010024" y="-4010026"/>
            <a:ext cx="1123950" cy="9144002"/>
          </a:xfrm>
          <a:prstGeom prst="rect">
            <a:avLst/>
          </a:prstGeom>
          <a:solidFill>
            <a:schemeClr val="bg1">
              <a:alpha val="85000"/>
            </a:schemeClr>
          </a:solidFill>
          <a:ln>
            <a:noFill/>
          </a:ln>
          <a:extLst/>
        </p:spPr>
        <p:txBody>
          <a:bodyPr/>
          <a:lstStyle/>
          <a:p>
            <a:pPr algn="ctr"/>
            <a:r>
              <a:rPr lang="en-US" dirty="0">
                <a:latin typeface="Arial"/>
                <a:ea typeface="Arial"/>
                <a:cs typeface="Arial"/>
              </a:rPr>
              <a:t>    </a:t>
            </a:r>
          </a:p>
        </p:txBody>
      </p:sp>
      <p:pic>
        <p:nvPicPr>
          <p:cNvPr id="10" name="Picture 9" descr="TWCo IBM logo_MAIN 4C VEC (2).eps"/>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305800" y="314910"/>
            <a:ext cx="555896" cy="494130"/>
          </a:xfrm>
          <a:prstGeom prst="rect">
            <a:avLst/>
          </a:prstGeom>
        </p:spPr>
      </p:pic>
    </p:spTree>
    <p:extLst>
      <p:ext uri="{BB962C8B-B14F-4D97-AF65-F5344CB8AC3E}">
        <p14:creationId xmlns:p14="http://schemas.microsoft.com/office/powerpoint/2010/main" val="3360073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200849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468014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616424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E502960-A52D-4216-BA4B-EFC345206F76}" type="datetimeFigureOut">
              <a:rPr lang="en-US">
                <a:solidFill>
                  <a:prstClr val="black">
                    <a:tint val="75000"/>
                  </a:prstClr>
                </a:solidFill>
              </a:rPr>
              <a:pPr/>
              <a:t>2/8/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94D1DDC-8589-4CA9-97F2-3C91252C255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060030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E502960-A52D-4216-BA4B-EFC345206F76}" type="datetimeFigureOut">
              <a:rPr lang="en-US">
                <a:solidFill>
                  <a:prstClr val="black">
                    <a:tint val="75000"/>
                  </a:prstClr>
                </a:solidFill>
              </a:rPr>
              <a:pPr/>
              <a:t>2/8/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94D1DDC-8589-4CA9-97F2-3C91252C255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21100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E502960-A52D-4216-BA4B-EFC345206F76}" type="datetimeFigureOut">
              <a:rPr lang="en-US">
                <a:solidFill>
                  <a:prstClr val="black">
                    <a:tint val="75000"/>
                  </a:prstClr>
                </a:solidFill>
              </a:rPr>
              <a:pPr/>
              <a:t>2/8/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94D1DDC-8589-4CA9-97F2-3C91252C255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527270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369219"/>
            <a:ext cx="3886200" cy="326350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369219"/>
            <a:ext cx="3886200" cy="326350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0E502960-A52D-4216-BA4B-EFC345206F76}" type="datetimeFigureOut">
              <a:rPr lang="en-US">
                <a:solidFill>
                  <a:prstClr val="black">
                    <a:tint val="75000"/>
                  </a:prstClr>
                </a:solidFill>
              </a:rPr>
              <a:pPr/>
              <a:t>2/8/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94D1DDC-8589-4CA9-97F2-3C91252C255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309682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E502960-A52D-4216-BA4B-EFC345206F76}" type="datetimeFigureOut">
              <a:rPr lang="en-US">
                <a:solidFill>
                  <a:prstClr val="black">
                    <a:tint val="75000"/>
                  </a:prstClr>
                </a:solidFill>
              </a:rPr>
              <a:pPr/>
              <a:t>2/8/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D94D1DDC-8589-4CA9-97F2-3C91252C255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7783640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E502960-A52D-4216-BA4B-EFC345206F76}" type="datetimeFigureOut">
              <a:rPr lang="en-US">
                <a:solidFill>
                  <a:prstClr val="black">
                    <a:tint val="75000"/>
                  </a:prstClr>
                </a:solidFill>
              </a:rPr>
              <a:pPr/>
              <a:t>2/8/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D94D1DDC-8589-4CA9-97F2-3C91252C255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322457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E502960-A52D-4216-BA4B-EFC345206F76}" type="datetimeFigureOut">
              <a:rPr lang="en-US">
                <a:solidFill>
                  <a:prstClr val="black">
                    <a:tint val="75000"/>
                  </a:prstClr>
                </a:solidFill>
              </a:rPr>
              <a:pPr/>
              <a:t>2/8/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94D1DDC-8589-4CA9-97F2-3C91252C255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166273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0"/>
            <a:ext cx="9144000" cy="5143500"/>
          </a:xfrm>
          <a:prstGeom prst="rect">
            <a:avLst/>
          </a:prstGeom>
        </p:spPr>
      </p:pic>
    </p:spTree>
    <p:extLst>
      <p:ext uri="{BB962C8B-B14F-4D97-AF65-F5344CB8AC3E}">
        <p14:creationId xmlns:p14="http://schemas.microsoft.com/office/powerpoint/2010/main" val="15028830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E502960-A52D-4216-BA4B-EFC345206F76}" type="datetimeFigureOut">
              <a:rPr lang="en-US">
                <a:solidFill>
                  <a:prstClr val="black">
                    <a:tint val="75000"/>
                  </a:prstClr>
                </a:solidFill>
              </a:rPr>
              <a:pPr/>
              <a:t>2/8/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94D1DDC-8589-4CA9-97F2-3C91252C255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963591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US"/>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E502960-A52D-4216-BA4B-EFC345206F76}" type="datetimeFigureOut">
              <a:rPr lang="en-US">
                <a:solidFill>
                  <a:prstClr val="black">
                    <a:tint val="75000"/>
                  </a:prstClr>
                </a:solidFill>
              </a:rPr>
              <a:pPr/>
              <a:t>2/8/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94D1DDC-8589-4CA9-97F2-3C91252C255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537398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E502960-A52D-4216-BA4B-EFC345206F76}" type="datetimeFigureOut">
              <a:rPr lang="en-US">
                <a:solidFill>
                  <a:prstClr val="black">
                    <a:tint val="75000"/>
                  </a:prstClr>
                </a:solidFill>
              </a:rPr>
              <a:pPr/>
              <a:t>2/8/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94D1DDC-8589-4CA9-97F2-3C91252C255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926726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E502960-A52D-4216-BA4B-EFC345206F76}" type="datetimeFigureOut">
              <a:rPr lang="en-US">
                <a:solidFill>
                  <a:prstClr val="black">
                    <a:tint val="75000"/>
                  </a:prstClr>
                </a:solidFill>
              </a:rPr>
              <a:pPr/>
              <a:t>2/8/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94D1DDC-8589-4CA9-97F2-3C91252C255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670851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0_Custom Layout">
    <p:spTree>
      <p:nvGrpSpPr>
        <p:cNvPr id="1" name=""/>
        <p:cNvGrpSpPr/>
        <p:nvPr/>
      </p:nvGrpSpPr>
      <p:grpSpPr>
        <a:xfrm>
          <a:off x="0" y="0"/>
          <a:ext cx="0" cy="0"/>
          <a:chOff x="0" y="0"/>
          <a:chExt cx="0" cy="0"/>
        </a:xfrm>
      </p:grpSpPr>
      <p:pic>
        <p:nvPicPr>
          <p:cNvPr id="2" name="Picture 1" descr="shutterstock_289188266 (1).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0"/>
            <a:ext cx="9144000" cy="5143500"/>
          </a:xfrm>
          <a:prstGeom prst="rect">
            <a:avLst/>
          </a:prstGeom>
        </p:spPr>
      </p:pic>
      <p:sp>
        <p:nvSpPr>
          <p:cNvPr id="3" name="Rectangle 8"/>
          <p:cNvSpPr>
            <a:spLocks noChangeArrowheads="1"/>
          </p:cNvSpPr>
          <p:nvPr userDrawn="1"/>
        </p:nvSpPr>
        <p:spPr bwMode="auto">
          <a:xfrm rot="16200000">
            <a:off x="2000253" y="-2000250"/>
            <a:ext cx="5143498" cy="9143998"/>
          </a:xfrm>
          <a:prstGeom prst="rect">
            <a:avLst/>
          </a:prstGeom>
          <a:solidFill>
            <a:schemeClr val="bg1">
              <a:alpha val="85000"/>
            </a:schemeClr>
          </a:solidFill>
          <a:ln>
            <a:noFill/>
          </a:ln>
          <a:extLst/>
        </p:spPr>
        <p:txBody>
          <a:bodyPr/>
          <a:lstStyle/>
          <a:p>
            <a:pPr algn="ctr"/>
            <a:r>
              <a:rPr lang="en-US" dirty="0">
                <a:solidFill>
                  <a:prstClr val="black"/>
                </a:solidFill>
                <a:latin typeface="Arial"/>
                <a:ea typeface="Arial"/>
                <a:cs typeface="Arial"/>
              </a:rPr>
              <a:t>    </a:t>
            </a:r>
          </a:p>
        </p:txBody>
      </p:sp>
      <p:pic>
        <p:nvPicPr>
          <p:cNvPr id="6" name="Picture 5" descr="TWCo IBM logo_MAIN 4C VEC (2).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82001" y="4476750"/>
            <a:ext cx="555896" cy="494130"/>
          </a:xfrm>
          <a:prstGeom prst="rect">
            <a:avLst/>
          </a:prstGeom>
        </p:spPr>
      </p:pic>
    </p:spTree>
    <p:extLst>
      <p:ext uri="{BB962C8B-B14F-4D97-AF65-F5344CB8AC3E}">
        <p14:creationId xmlns:p14="http://schemas.microsoft.com/office/powerpoint/2010/main" val="167007063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pic>
        <p:nvPicPr>
          <p:cNvPr id="7" name="Picture 6" descr="dawn-190055.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0"/>
            <a:ext cx="9144000" cy="5143490"/>
          </a:xfrm>
          <a:prstGeom prst="rect">
            <a:avLst/>
          </a:prstGeom>
        </p:spPr>
      </p:pic>
      <p:pic>
        <p:nvPicPr>
          <p:cNvPr id="8" name="Picture 7" descr="dawn-190055.jpg"/>
          <p:cNvPicPr>
            <a:picLocks noChangeAspect="1"/>
          </p:cNvPicPr>
          <p:nvPr userDrawn="1"/>
        </p:nvPicPr>
        <p:blipFill rotWithShape="1">
          <a:blip r:embed="rId3" cstate="email">
            <a:extLst>
              <a:ext uri="{BEBA8EAE-BF5A-486C-A8C5-ECC9F3942E4B}">
                <a14:imgProps xmlns:a14="http://schemas.microsoft.com/office/drawing/2010/main">
                  <a14:imgLayer r:embed="rId4">
                    <a14:imgEffect>
                      <a14:artisticBlur radius="67"/>
                    </a14:imgEffect>
                  </a14:imgLayer>
                </a14:imgProps>
              </a:ext>
              <a:ext uri="{28A0092B-C50C-407E-A947-70E740481C1C}">
                <a14:useLocalDpi xmlns:a14="http://schemas.microsoft.com/office/drawing/2010/main"/>
              </a:ext>
            </a:extLst>
          </a:blip>
          <a:srcRect/>
          <a:stretch/>
        </p:blipFill>
        <p:spPr>
          <a:xfrm flipH="1">
            <a:off x="0" y="10"/>
            <a:ext cx="4343396" cy="5143490"/>
          </a:xfrm>
          <a:prstGeom prst="rect">
            <a:avLst/>
          </a:prstGeom>
        </p:spPr>
      </p:pic>
      <p:sp>
        <p:nvSpPr>
          <p:cNvPr id="24" name="Rectangle 23"/>
          <p:cNvSpPr>
            <a:spLocks noChangeArrowheads="1"/>
          </p:cNvSpPr>
          <p:nvPr userDrawn="1"/>
        </p:nvSpPr>
        <p:spPr bwMode="auto">
          <a:xfrm rot="16200000">
            <a:off x="-400048" y="400046"/>
            <a:ext cx="5143490" cy="4343398"/>
          </a:xfrm>
          <a:prstGeom prst="rect">
            <a:avLst/>
          </a:prstGeom>
          <a:solidFill>
            <a:schemeClr val="bg1">
              <a:alpha val="85000"/>
            </a:schemeClr>
          </a:solidFill>
          <a:ln>
            <a:noFill/>
          </a:ln>
          <a:extLst/>
        </p:spPr>
        <p:txBody>
          <a:bodyPr/>
          <a:lstStyle/>
          <a:p>
            <a:pPr algn="ctr"/>
            <a:r>
              <a:rPr lang="en-US" dirty="0">
                <a:latin typeface="Arial"/>
                <a:ea typeface="Arial"/>
                <a:cs typeface="Arial"/>
              </a:rPr>
              <a:t>    </a:t>
            </a:r>
          </a:p>
        </p:txBody>
      </p:sp>
      <p:pic>
        <p:nvPicPr>
          <p:cNvPr id="25" name="Picture 24" descr="TWCo IBM logo_MAIN 4C VEC (2).eps"/>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52400" y="4476750"/>
            <a:ext cx="555896" cy="494130"/>
          </a:xfrm>
          <a:prstGeom prst="rect">
            <a:avLst/>
          </a:prstGeom>
        </p:spPr>
      </p:pic>
    </p:spTree>
    <p:extLst>
      <p:ext uri="{BB962C8B-B14F-4D97-AF65-F5344CB8AC3E}">
        <p14:creationId xmlns:p14="http://schemas.microsoft.com/office/powerpoint/2010/main" val="385355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328ED3"/>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radius="98"/>
                    </a14:imgEffect>
                  </a14:imgLayer>
                </a14:imgProps>
              </a:ext>
              <a:ext uri="{28A0092B-C50C-407E-A947-70E740481C1C}">
                <a14:useLocalDpi xmlns:a14="http://schemas.microsoft.com/office/drawing/2010/main"/>
              </a:ext>
            </a:extLst>
          </a:blip>
          <a:srcRect t="12560" r="52500"/>
          <a:stretch/>
        </p:blipFill>
        <p:spPr>
          <a:xfrm>
            <a:off x="0" y="0"/>
            <a:ext cx="4343396" cy="5143500"/>
          </a:xfrm>
          <a:prstGeom prst="rect">
            <a:avLst/>
          </a:prstGeom>
        </p:spPr>
      </p:pic>
      <p:sp>
        <p:nvSpPr>
          <p:cNvPr id="17" name="Rectangle 16"/>
          <p:cNvSpPr>
            <a:spLocks noChangeArrowheads="1"/>
          </p:cNvSpPr>
          <p:nvPr userDrawn="1"/>
        </p:nvSpPr>
        <p:spPr bwMode="auto">
          <a:xfrm rot="16200000">
            <a:off x="-405891" y="394207"/>
            <a:ext cx="5155176" cy="4343398"/>
          </a:xfrm>
          <a:prstGeom prst="rect">
            <a:avLst/>
          </a:prstGeom>
          <a:solidFill>
            <a:schemeClr val="bg1">
              <a:alpha val="85000"/>
            </a:schemeClr>
          </a:solidFill>
          <a:ln>
            <a:noFill/>
          </a:ln>
          <a:extLst/>
        </p:spPr>
        <p:txBody>
          <a:bodyPr/>
          <a:lstStyle/>
          <a:p>
            <a:pPr algn="ctr"/>
            <a:r>
              <a:rPr lang="en-US" dirty="0">
                <a:latin typeface="Arial"/>
                <a:ea typeface="Arial"/>
                <a:cs typeface="Arial"/>
              </a:rPr>
              <a:t>    </a:t>
            </a:r>
          </a:p>
        </p:txBody>
      </p:sp>
      <p:pic>
        <p:nvPicPr>
          <p:cNvPr id="12" name="Picture 11" descr="TWCo IBM logo_MAIN 4C VEC (2).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2400" y="4476750"/>
            <a:ext cx="555896" cy="494130"/>
          </a:xfrm>
          <a:prstGeom prst="rect">
            <a:avLst/>
          </a:prstGeom>
        </p:spPr>
      </p:pic>
      <p:pic>
        <p:nvPicPr>
          <p:cNvPr id="7" name="Content Placeholder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203939" y="0"/>
            <a:ext cx="5940061" cy="5143494"/>
          </a:xfrm>
          <a:prstGeom prst="rect">
            <a:avLst/>
          </a:prstGeom>
        </p:spPr>
      </p:pic>
    </p:spTree>
    <p:extLst>
      <p:ext uri="{BB962C8B-B14F-4D97-AF65-F5344CB8AC3E}">
        <p14:creationId xmlns:p14="http://schemas.microsoft.com/office/powerpoint/2010/main" val="21077788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atin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baseline="0">
                <a:latin typeface="Arial" panose="020B0604020202020204" pitchFamily="34" charset="0"/>
              </a:defRPr>
            </a:lvl1pPr>
            <a:lvl2pPr>
              <a:defRPr baseline="0">
                <a:latin typeface="Arial" panose="020B0604020202020204" pitchFamily="34" charset="0"/>
              </a:defRPr>
            </a:lvl2pPr>
            <a:lvl3pPr>
              <a:defRPr baseline="0">
                <a:latin typeface="Arial" panose="020B0604020202020204" pitchFamily="34" charset="0"/>
              </a:defRPr>
            </a:lvl3pPr>
            <a:lvl4pPr>
              <a:defRPr baseline="0">
                <a:latin typeface="Arial" panose="020B0604020202020204" pitchFamily="34" charset="0"/>
              </a:defRPr>
            </a:lvl4pPr>
            <a:lvl5pPr>
              <a:defRPr baseline="0">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174106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8"/>
            <a:ext cx="7772400" cy="1021556"/>
          </a:xfrm>
        </p:spPr>
        <p:txBody>
          <a:bodyPr/>
          <a:lstStyle>
            <a:lvl1pPr algn="l">
              <a:defRPr sz="3000" b="1" cap="all" baseline="0"/>
            </a:lvl1pPr>
          </a:lstStyle>
          <a:p>
            <a:r>
              <a:rPr lang="en-US" dirty="0"/>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baseline="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dirty="0"/>
              <a:t>Click to edit Master text styles</a:t>
            </a:r>
          </a:p>
        </p:txBody>
      </p:sp>
    </p:spTree>
    <p:extLst>
      <p:ext uri="{BB962C8B-B14F-4D97-AF65-F5344CB8AC3E}">
        <p14:creationId xmlns:p14="http://schemas.microsoft.com/office/powerpoint/2010/main" val="428567330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14.pn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13.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1.bin"/><Relationship Id="rId5" Type="http://schemas.openxmlformats.org/officeDocument/2006/relationships/slideLayout" Target="../slideLayouts/slideLayout12.xml"/><Relationship Id="rId10" Type="http://schemas.openxmlformats.org/officeDocument/2006/relationships/tags" Target="../tags/tag1.xml"/><Relationship Id="rId4" Type="http://schemas.openxmlformats.org/officeDocument/2006/relationships/slideLayout" Target="../slideLayouts/slideLayout11.xml"/><Relationship Id="rId9"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oleObject" Target="../embeddings/oleObject5.bin"/><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ags" Target="../tags/tag5.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vmlDrawing" Target="../drawings/vmlDrawing5.vml"/><Relationship Id="rId5" Type="http://schemas.openxmlformats.org/officeDocument/2006/relationships/slideLayout" Target="../slideLayouts/slideLayout26.xml"/><Relationship Id="rId15" Type="http://schemas.openxmlformats.org/officeDocument/2006/relationships/image" Target="../media/image17.png"/><Relationship Id="rId10" Type="http://schemas.openxmlformats.org/officeDocument/2006/relationships/theme" Target="../theme/theme4.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13.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heme" Target="../theme/theme5.xml"/><Relationship Id="rId18" Type="http://schemas.openxmlformats.org/officeDocument/2006/relationships/image" Target="../media/image17.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image" Target="../media/image13.emf"/><Relationship Id="rId2" Type="http://schemas.openxmlformats.org/officeDocument/2006/relationships/slideLayout" Target="../slideLayouts/slideLayout32.xml"/><Relationship Id="rId16" Type="http://schemas.openxmlformats.org/officeDocument/2006/relationships/oleObject" Target="../embeddings/oleObject7.bin"/><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tags" Target="../tags/tag7.xml"/><Relationship Id="rId10" Type="http://schemas.openxmlformats.org/officeDocument/2006/relationships/slideLayout" Target="../slideLayouts/slideLayout40.xml"/><Relationship Id="rId19" Type="http://schemas.openxmlformats.org/officeDocument/2006/relationships/image" Target="../media/image22.png"/><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vmlDrawing" Target="../drawings/vmlDrawing7.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6.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85750"/>
            <a:ext cx="8229600" cy="609600"/>
          </a:xfrm>
          <a:prstGeom prst="rect">
            <a:avLst/>
          </a:prstGeom>
          <a:noFill/>
        </p:spPr>
        <p:txBody>
          <a:bodyPr vert="horz" lIns="91440" tIns="45720" rIns="91440" bIns="45720" rtlCol="0" anchor="ctr">
            <a:normAutofit/>
          </a:bodyPr>
          <a:lstStyle/>
          <a:p>
            <a:r>
              <a:rPr lang="en-US" dirty="0"/>
              <a:t>Text Heavy Slide</a:t>
            </a:r>
          </a:p>
        </p:txBody>
      </p:sp>
      <p:sp>
        <p:nvSpPr>
          <p:cNvPr id="3" name="Text Placeholder 2"/>
          <p:cNvSpPr>
            <a:spLocks noGrp="1"/>
          </p:cNvSpPr>
          <p:nvPr>
            <p:ph type="body" idx="1"/>
          </p:nvPr>
        </p:nvSpPr>
        <p:spPr>
          <a:xfrm>
            <a:off x="457200" y="971550"/>
            <a:ext cx="8229600" cy="362307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6243951"/>
      </p:ext>
    </p:extLst>
  </p:cSld>
  <p:clrMap bg1="lt1" tx1="dk1" bg2="lt2" tx2="dk2" accent1="accent1" accent2="accent2" accent3="accent3" accent4="accent4" accent5="accent5" accent6="accent6" hlink="hlink" folHlink="folHlink"/>
  <p:sldLayoutIdLst>
    <p:sldLayoutId id="2147483799" r:id="rId1"/>
    <p:sldLayoutId id="2147483737" r:id="rId2"/>
    <p:sldLayoutId id="2147483807" r:id="rId3"/>
    <p:sldLayoutId id="2147483804" r:id="rId4"/>
    <p:sldLayoutId id="2147483811" r:id="rId5"/>
    <p:sldLayoutId id="2147483795" r:id="rId6"/>
    <p:sldLayoutId id="2147483816" r:id="rId7"/>
  </p:sldLayoutIdLst>
  <p:hf hdr="0" ftr="0" dt="0"/>
  <p:txStyles>
    <p:titleStyle>
      <a:lvl1pPr algn="l" defTabSz="914400" rtl="0" eaLnBrk="1" latinLnBrk="0" hangingPunct="1">
        <a:spcBef>
          <a:spcPct val="0"/>
        </a:spcBef>
        <a:buNone/>
        <a:defRPr sz="3200" b="1" kern="1200">
          <a:solidFill>
            <a:srgbClr val="2D8DD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2800" b="1" kern="1200">
          <a:solidFill>
            <a:srgbClr val="1B2F7C"/>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400" kern="1200">
          <a:solidFill>
            <a:srgbClr val="4D4D4D"/>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000" kern="1200">
          <a:solidFill>
            <a:srgbClr val="4D4D4D"/>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800" kern="1200">
          <a:solidFill>
            <a:srgbClr val="4D4D4D"/>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600" kern="1200">
          <a:solidFill>
            <a:srgbClr val="4D4D4D"/>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192" y="1193"/>
          <a:ext cx="1190" cy="1190"/>
        </p:xfrm>
        <a:graphic>
          <a:graphicData uri="http://schemas.openxmlformats.org/presentationml/2006/ole">
            <mc:AlternateContent xmlns:mc="http://schemas.openxmlformats.org/markup-compatibility/2006">
              <mc:Choice xmlns:v="urn:schemas-microsoft-com:vml" Requires="v">
                <p:oleObj spid="_x0000_s1068"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1192" y="1193"/>
                        <a:ext cx="1190" cy="1190"/>
                      </a:xfrm>
                      <a:prstGeom prst="rect">
                        <a:avLst/>
                      </a:prstGeom>
                    </p:spPr>
                  </p:pic>
                </p:oleObj>
              </mc:Fallback>
            </mc:AlternateContent>
          </a:graphicData>
        </a:graphic>
      </p:graphicFrame>
      <p:sp>
        <p:nvSpPr>
          <p:cNvPr id="1027" name="Rectangle 2"/>
          <p:cNvSpPr>
            <a:spLocks noGrp="1" noChangeArrowheads="1"/>
          </p:cNvSpPr>
          <p:nvPr>
            <p:ph type="title"/>
          </p:nvPr>
        </p:nvSpPr>
        <p:spPr bwMode="auto">
          <a:xfrm>
            <a:off x="266701" y="431635"/>
            <a:ext cx="8559800" cy="5154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dirty="0"/>
              <a:t>Click to edit Master title style</a:t>
            </a:r>
          </a:p>
        </p:txBody>
      </p:sp>
      <p:sp>
        <p:nvSpPr>
          <p:cNvPr id="1028" name="Rectangle 3"/>
          <p:cNvSpPr>
            <a:spLocks noGrp="1" noChangeArrowheads="1"/>
          </p:cNvSpPr>
          <p:nvPr>
            <p:ph type="body" idx="1"/>
          </p:nvPr>
        </p:nvSpPr>
        <p:spPr bwMode="auto">
          <a:xfrm>
            <a:off x="266701" y="1034583"/>
            <a:ext cx="8559800" cy="393379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034" name="Rectangle 10"/>
          <p:cNvSpPr>
            <a:spLocks noChangeArrowheads="1"/>
          </p:cNvSpPr>
          <p:nvPr/>
        </p:nvSpPr>
        <p:spPr bwMode="auto">
          <a:xfrm>
            <a:off x="95252" y="4976616"/>
            <a:ext cx="171449" cy="113203"/>
          </a:xfrm>
          <a:prstGeom prst="rect">
            <a:avLst/>
          </a:prstGeom>
          <a:solidFill>
            <a:srgbClr val="000000">
              <a:alpha val="999"/>
            </a:srgbClr>
          </a:solidFill>
          <a:ln w="9525">
            <a:noFill/>
            <a:miter lim="800000"/>
            <a:headEnd/>
            <a:tailEnd/>
          </a:ln>
          <a:effectLst/>
        </p:spPr>
        <p:txBody>
          <a:bodyPr lIns="0" tIns="0" rIns="0" bIns="0"/>
          <a:lstStyle>
            <a:lvl1pPr eaLnBrk="0" hangingPunct="0">
              <a:defRPr b="1">
                <a:solidFill>
                  <a:schemeClr val="tx1"/>
                </a:solidFill>
                <a:latin typeface="Arial" pitchFamily="34" charset="0"/>
                <a:cs typeface="Arial" pitchFamily="34" charset="0"/>
              </a:defRPr>
            </a:lvl1pPr>
            <a:lvl2pPr marL="742950" indent="-285750" eaLnBrk="0" hangingPunct="0">
              <a:defRPr b="1">
                <a:solidFill>
                  <a:schemeClr val="tx1"/>
                </a:solidFill>
                <a:latin typeface="Arial" pitchFamily="34" charset="0"/>
                <a:cs typeface="Arial" pitchFamily="34" charset="0"/>
              </a:defRPr>
            </a:lvl2pPr>
            <a:lvl3pPr marL="1143000" indent="-228600" eaLnBrk="0" hangingPunct="0">
              <a:defRPr b="1">
                <a:solidFill>
                  <a:schemeClr val="tx1"/>
                </a:solidFill>
                <a:latin typeface="Arial" pitchFamily="34" charset="0"/>
                <a:cs typeface="Arial" pitchFamily="34" charset="0"/>
              </a:defRPr>
            </a:lvl3pPr>
            <a:lvl4pPr marL="1600200" indent="-228600" eaLnBrk="0" hangingPunct="0">
              <a:defRPr b="1">
                <a:solidFill>
                  <a:schemeClr val="tx1"/>
                </a:solidFill>
                <a:latin typeface="Arial" pitchFamily="34" charset="0"/>
                <a:cs typeface="Arial" pitchFamily="34" charset="0"/>
              </a:defRPr>
            </a:lvl4pPr>
            <a:lvl5pPr marL="2057400" indent="-228600" eaLnBrk="0" hangingPunct="0">
              <a:defRPr b="1">
                <a:solidFill>
                  <a:schemeClr val="tx1"/>
                </a:solidFill>
                <a:latin typeface="Arial" pitchFamily="34" charset="0"/>
                <a:cs typeface="Arial" pitchFamily="34" charset="0"/>
              </a:defRPr>
            </a:lvl5pPr>
            <a:lvl6pPr marL="2514600" indent="-228600" algn="r" eaLnBrk="0" fontAlgn="base" hangingPunct="0">
              <a:spcBef>
                <a:spcPct val="0"/>
              </a:spcBef>
              <a:spcAft>
                <a:spcPct val="0"/>
              </a:spcAft>
              <a:defRPr b="1">
                <a:solidFill>
                  <a:schemeClr val="tx1"/>
                </a:solidFill>
                <a:latin typeface="Arial" pitchFamily="34" charset="0"/>
                <a:cs typeface="Arial" pitchFamily="34" charset="0"/>
              </a:defRPr>
            </a:lvl6pPr>
            <a:lvl7pPr marL="2971800" indent="-228600" algn="r" eaLnBrk="0" fontAlgn="base" hangingPunct="0">
              <a:spcBef>
                <a:spcPct val="0"/>
              </a:spcBef>
              <a:spcAft>
                <a:spcPct val="0"/>
              </a:spcAft>
              <a:defRPr b="1">
                <a:solidFill>
                  <a:schemeClr val="tx1"/>
                </a:solidFill>
                <a:latin typeface="Arial" pitchFamily="34" charset="0"/>
                <a:cs typeface="Arial" pitchFamily="34" charset="0"/>
              </a:defRPr>
            </a:lvl7pPr>
            <a:lvl8pPr marL="3429000" indent="-228600" algn="r" eaLnBrk="0" fontAlgn="base" hangingPunct="0">
              <a:spcBef>
                <a:spcPct val="0"/>
              </a:spcBef>
              <a:spcAft>
                <a:spcPct val="0"/>
              </a:spcAft>
              <a:defRPr b="1">
                <a:solidFill>
                  <a:schemeClr val="tx1"/>
                </a:solidFill>
                <a:latin typeface="Arial" pitchFamily="34" charset="0"/>
                <a:cs typeface="Arial" pitchFamily="34" charset="0"/>
              </a:defRPr>
            </a:lvl8pPr>
            <a:lvl9pPr marL="3886200" indent="-228600" algn="r" eaLnBrk="0" fontAlgn="base" hangingPunct="0">
              <a:spcBef>
                <a:spcPct val="0"/>
              </a:spcBef>
              <a:spcAft>
                <a:spcPct val="0"/>
              </a:spcAft>
              <a:defRPr b="1">
                <a:solidFill>
                  <a:schemeClr val="tx1"/>
                </a:solidFill>
                <a:latin typeface="Arial" pitchFamily="34" charset="0"/>
                <a:cs typeface="Arial" pitchFamily="34" charset="0"/>
              </a:defRPr>
            </a:lvl9pPr>
          </a:lstStyle>
          <a:p>
            <a:pPr algn="l" eaLnBrk="1" hangingPunct="1">
              <a:defRPr/>
            </a:pPr>
            <a:fld id="{DBB8314A-5984-4274-AED6-C7C513ABFF68}" type="slidenum">
              <a:rPr kumimoji="0" lang="en-US" altLang="en-US" sz="600" b="0" smtClean="0">
                <a:solidFill>
                  <a:schemeClr val="tx1">
                    <a:lumMod val="65000"/>
                    <a:lumOff val="35000"/>
                  </a:schemeClr>
                </a:solidFill>
                <a:ea typeface="+mn-ea"/>
              </a:rPr>
              <a:pPr algn="l" eaLnBrk="1" hangingPunct="1">
                <a:defRPr/>
              </a:pPr>
              <a:t>‹#›</a:t>
            </a:fld>
            <a:endParaRPr kumimoji="0" lang="en-US" altLang="en-US" sz="600" b="0" dirty="0">
              <a:solidFill>
                <a:schemeClr val="tx1">
                  <a:lumMod val="65000"/>
                  <a:lumOff val="35000"/>
                </a:schemeClr>
              </a:solidFill>
              <a:ea typeface="+mn-ea"/>
            </a:endParaRPr>
          </a:p>
        </p:txBody>
      </p:sp>
      <p:sp>
        <p:nvSpPr>
          <p:cNvPr id="16" name="Rectangle 6"/>
          <p:cNvSpPr>
            <a:spLocks noChangeArrowheads="1"/>
          </p:cNvSpPr>
          <p:nvPr/>
        </p:nvSpPr>
        <p:spPr bwMode="black">
          <a:xfrm>
            <a:off x="7230497" y="4968375"/>
            <a:ext cx="1619591" cy="121444"/>
          </a:xfrm>
          <a:prstGeom prst="rect">
            <a:avLst/>
          </a:prstGeom>
          <a:noFill/>
          <a:ln w="9525">
            <a:noFill/>
            <a:miter lim="800000"/>
            <a:headEnd/>
            <a:tailEnd/>
          </a:ln>
        </p:spPr>
        <p:txBody>
          <a:bodyPr lIns="69056" tIns="34529" rIns="69056" bIns="34529"/>
          <a:lstStyle>
            <a:lvl1pPr eaLnBrk="0" hangingPunct="0">
              <a:defRPr b="1">
                <a:solidFill>
                  <a:schemeClr val="tx1"/>
                </a:solidFill>
                <a:latin typeface="Arial" pitchFamily="34" charset="0"/>
                <a:cs typeface="Arial" pitchFamily="34" charset="0"/>
              </a:defRPr>
            </a:lvl1pPr>
            <a:lvl2pPr marL="742950" indent="-285750" eaLnBrk="0" hangingPunct="0">
              <a:defRPr b="1">
                <a:solidFill>
                  <a:schemeClr val="tx1"/>
                </a:solidFill>
                <a:latin typeface="Arial" pitchFamily="34" charset="0"/>
                <a:cs typeface="Arial" pitchFamily="34" charset="0"/>
              </a:defRPr>
            </a:lvl2pPr>
            <a:lvl3pPr marL="1143000" indent="-228600" eaLnBrk="0" hangingPunct="0">
              <a:defRPr b="1">
                <a:solidFill>
                  <a:schemeClr val="tx1"/>
                </a:solidFill>
                <a:latin typeface="Arial" pitchFamily="34" charset="0"/>
                <a:cs typeface="Arial" pitchFamily="34" charset="0"/>
              </a:defRPr>
            </a:lvl3pPr>
            <a:lvl4pPr marL="1600200" indent="-228600" eaLnBrk="0" hangingPunct="0">
              <a:defRPr b="1">
                <a:solidFill>
                  <a:schemeClr val="tx1"/>
                </a:solidFill>
                <a:latin typeface="Arial" pitchFamily="34" charset="0"/>
                <a:cs typeface="Arial" pitchFamily="34" charset="0"/>
              </a:defRPr>
            </a:lvl4pPr>
            <a:lvl5pPr marL="2057400" indent="-228600" eaLnBrk="0" hangingPunct="0">
              <a:defRPr b="1">
                <a:solidFill>
                  <a:schemeClr val="tx1"/>
                </a:solidFill>
                <a:latin typeface="Arial" pitchFamily="34" charset="0"/>
                <a:cs typeface="Arial" pitchFamily="34" charset="0"/>
              </a:defRPr>
            </a:lvl5pPr>
            <a:lvl6pPr marL="2514600" indent="-228600" algn="r" eaLnBrk="0" fontAlgn="base" hangingPunct="0">
              <a:spcBef>
                <a:spcPct val="0"/>
              </a:spcBef>
              <a:spcAft>
                <a:spcPct val="0"/>
              </a:spcAft>
              <a:defRPr b="1">
                <a:solidFill>
                  <a:schemeClr val="tx1"/>
                </a:solidFill>
                <a:latin typeface="Arial" pitchFamily="34" charset="0"/>
                <a:cs typeface="Arial" pitchFamily="34" charset="0"/>
              </a:defRPr>
            </a:lvl6pPr>
            <a:lvl7pPr marL="2971800" indent="-228600" algn="r" eaLnBrk="0" fontAlgn="base" hangingPunct="0">
              <a:spcBef>
                <a:spcPct val="0"/>
              </a:spcBef>
              <a:spcAft>
                <a:spcPct val="0"/>
              </a:spcAft>
              <a:defRPr b="1">
                <a:solidFill>
                  <a:schemeClr val="tx1"/>
                </a:solidFill>
                <a:latin typeface="Arial" pitchFamily="34" charset="0"/>
                <a:cs typeface="Arial" pitchFamily="34" charset="0"/>
              </a:defRPr>
            </a:lvl7pPr>
            <a:lvl8pPr marL="3429000" indent="-228600" algn="r" eaLnBrk="0" fontAlgn="base" hangingPunct="0">
              <a:spcBef>
                <a:spcPct val="0"/>
              </a:spcBef>
              <a:spcAft>
                <a:spcPct val="0"/>
              </a:spcAft>
              <a:defRPr b="1">
                <a:solidFill>
                  <a:schemeClr val="tx1"/>
                </a:solidFill>
                <a:latin typeface="Arial" pitchFamily="34" charset="0"/>
                <a:cs typeface="Arial" pitchFamily="34" charset="0"/>
              </a:defRPr>
            </a:lvl8pPr>
            <a:lvl9pPr marL="3886200" indent="-228600" algn="r" eaLnBrk="0" fontAlgn="base" hangingPunct="0">
              <a:spcBef>
                <a:spcPct val="0"/>
              </a:spcBef>
              <a:spcAft>
                <a:spcPct val="0"/>
              </a:spcAft>
              <a:defRPr b="1">
                <a:solidFill>
                  <a:schemeClr val="tx1"/>
                </a:solidFill>
                <a:latin typeface="Arial" pitchFamily="34" charset="0"/>
                <a:cs typeface="Arial" pitchFamily="34" charset="0"/>
              </a:defRPr>
            </a:lvl9pPr>
          </a:lstStyle>
          <a:p>
            <a:pPr algn="ctr" eaLnBrk="1" hangingPunct="1">
              <a:defRPr/>
            </a:pPr>
            <a:r>
              <a:rPr kumimoji="0" lang="en-US" altLang="en-US" sz="600" b="0" dirty="0">
                <a:solidFill>
                  <a:schemeClr val="tx1">
                    <a:lumMod val="65000"/>
                    <a:lumOff val="35000"/>
                  </a:schemeClr>
                </a:solidFill>
                <a:ea typeface="+mn-ea"/>
              </a:rPr>
              <a:t> IBM Corporation </a:t>
            </a:r>
            <a:r>
              <a:rPr kumimoji="0" lang="en-US" altLang="en-US" sz="600" b="0" baseline="0" dirty="0">
                <a:solidFill>
                  <a:schemeClr val="tx1">
                    <a:lumMod val="65000"/>
                    <a:lumOff val="35000"/>
                  </a:schemeClr>
                </a:solidFill>
                <a:ea typeface="+mn-ea"/>
              </a:rPr>
              <a:t>Confidential</a:t>
            </a:r>
            <a:endParaRPr kumimoji="0" lang="en-US" altLang="en-US" sz="600" b="0" dirty="0">
              <a:solidFill>
                <a:schemeClr val="tx1">
                  <a:lumMod val="65000"/>
                  <a:lumOff val="35000"/>
                </a:schemeClr>
              </a:solidFill>
              <a:ea typeface="+mn-ea"/>
            </a:endParaRPr>
          </a:p>
        </p:txBody>
      </p:sp>
      <p:sp>
        <p:nvSpPr>
          <p:cNvPr id="5" name="Rectangle 4"/>
          <p:cNvSpPr/>
          <p:nvPr/>
        </p:nvSpPr>
        <p:spPr bwMode="auto">
          <a:xfrm>
            <a:off x="0" y="383584"/>
            <a:ext cx="9144000" cy="34289"/>
          </a:xfrm>
          <a:prstGeom prst="rect">
            <a:avLst/>
          </a:prstGeom>
          <a:gradFill flip="none" rotWithShape="1">
            <a:gsLst>
              <a:gs pos="0">
                <a:srgbClr val="E21F25"/>
              </a:gs>
              <a:gs pos="100000">
                <a:srgbClr val="305893"/>
              </a:gs>
            </a:gsLst>
            <a:lin ang="0" scaled="1"/>
            <a:tileRect/>
          </a:gra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indent="0" algn="r" defTabSz="685800" rtl="0" eaLnBrk="1" fontAlgn="base" latinLnBrk="0" hangingPunct="1">
              <a:lnSpc>
                <a:spcPct val="100000"/>
              </a:lnSpc>
              <a:spcBef>
                <a:spcPct val="0"/>
              </a:spcBef>
              <a:spcAft>
                <a:spcPct val="0"/>
              </a:spcAft>
              <a:buClrTx/>
              <a:buSzTx/>
              <a:buFontTx/>
              <a:buNone/>
              <a:tabLst/>
            </a:pPr>
            <a:endParaRPr kumimoji="0" lang="en-US" sz="1350" b="1" i="0" u="none" strike="noStrike" cap="none" normalizeH="0" baseline="0" dirty="0">
              <a:ln>
                <a:noFill/>
              </a:ln>
              <a:solidFill>
                <a:schemeClr val="tx1"/>
              </a:solidFill>
              <a:effectLst/>
              <a:latin typeface="Arial" pitchFamily="34" charset="0"/>
              <a:cs typeface="Arial" pitchFamily="34" charset="0"/>
            </a:endParaRPr>
          </a:p>
        </p:txBody>
      </p:sp>
      <p:pic>
        <p:nvPicPr>
          <p:cNvPr id="8" name="Picture 7" descr="logo-lockup.png"/>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7652571" y="22295"/>
            <a:ext cx="1383390" cy="351778"/>
          </a:xfrm>
          <a:prstGeom prst="rect">
            <a:avLst/>
          </a:prstGeom>
        </p:spPr>
      </p:pic>
    </p:spTree>
    <p:extLst>
      <p:ext uri="{BB962C8B-B14F-4D97-AF65-F5344CB8AC3E}">
        <p14:creationId xmlns:p14="http://schemas.microsoft.com/office/powerpoint/2010/main" val="2677107139"/>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5" r:id="rId7"/>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dt="0"/>
  <p:txStyles>
    <p:titleStyle>
      <a:lvl1pPr algn="l" rtl="0" eaLnBrk="1" fontAlgn="base" hangingPunct="1">
        <a:spcBef>
          <a:spcPct val="0"/>
        </a:spcBef>
        <a:spcAft>
          <a:spcPct val="0"/>
        </a:spcAft>
        <a:defRPr sz="1800" b="1" baseline="0">
          <a:solidFill>
            <a:srgbClr val="00649D"/>
          </a:solidFill>
          <a:latin typeface="Arial" panose="020B0604020202020204" pitchFamily="34" charset="0"/>
          <a:ea typeface="+mj-ea"/>
          <a:cs typeface="Calibri" panose="020F0502020204030204" pitchFamily="34" charset="0"/>
        </a:defRPr>
      </a:lvl1pPr>
      <a:lvl2pPr algn="l" rtl="0" eaLnBrk="1" fontAlgn="base" hangingPunct="1">
        <a:spcBef>
          <a:spcPct val="0"/>
        </a:spcBef>
        <a:spcAft>
          <a:spcPct val="0"/>
        </a:spcAft>
        <a:defRPr b="1">
          <a:solidFill>
            <a:srgbClr val="00649D"/>
          </a:solidFill>
          <a:latin typeface="Arial" pitchFamily="34" charset="0"/>
          <a:cs typeface="Arial" pitchFamily="34" charset="0"/>
        </a:defRPr>
      </a:lvl2pPr>
      <a:lvl3pPr algn="l" rtl="0" eaLnBrk="1" fontAlgn="base" hangingPunct="1">
        <a:spcBef>
          <a:spcPct val="0"/>
        </a:spcBef>
        <a:spcAft>
          <a:spcPct val="0"/>
        </a:spcAft>
        <a:defRPr b="1">
          <a:solidFill>
            <a:srgbClr val="00649D"/>
          </a:solidFill>
          <a:latin typeface="Arial" pitchFamily="34" charset="0"/>
          <a:cs typeface="Arial" pitchFamily="34" charset="0"/>
        </a:defRPr>
      </a:lvl3pPr>
      <a:lvl4pPr algn="l" rtl="0" eaLnBrk="1" fontAlgn="base" hangingPunct="1">
        <a:spcBef>
          <a:spcPct val="0"/>
        </a:spcBef>
        <a:spcAft>
          <a:spcPct val="0"/>
        </a:spcAft>
        <a:defRPr b="1">
          <a:solidFill>
            <a:srgbClr val="00649D"/>
          </a:solidFill>
          <a:latin typeface="Arial" pitchFamily="34" charset="0"/>
          <a:cs typeface="Arial" pitchFamily="34" charset="0"/>
        </a:defRPr>
      </a:lvl4pPr>
      <a:lvl5pPr algn="l" rtl="0" eaLnBrk="1" fontAlgn="base" hangingPunct="1">
        <a:spcBef>
          <a:spcPct val="0"/>
        </a:spcBef>
        <a:spcAft>
          <a:spcPct val="0"/>
        </a:spcAft>
        <a:defRPr b="1">
          <a:solidFill>
            <a:srgbClr val="00649D"/>
          </a:solidFill>
          <a:latin typeface="Arial" pitchFamily="34" charset="0"/>
          <a:cs typeface="Arial" pitchFamily="34" charset="0"/>
        </a:defRPr>
      </a:lvl5pPr>
      <a:lvl6pPr marL="342900" algn="l" rtl="0" eaLnBrk="1" fontAlgn="base" hangingPunct="1">
        <a:spcBef>
          <a:spcPct val="0"/>
        </a:spcBef>
        <a:spcAft>
          <a:spcPct val="0"/>
        </a:spcAft>
        <a:defRPr b="1">
          <a:solidFill>
            <a:srgbClr val="00649D"/>
          </a:solidFill>
          <a:latin typeface="Arial" pitchFamily="34" charset="0"/>
          <a:cs typeface="Arial" pitchFamily="34" charset="0"/>
        </a:defRPr>
      </a:lvl6pPr>
      <a:lvl7pPr marL="685800" algn="l" rtl="0" eaLnBrk="1" fontAlgn="base" hangingPunct="1">
        <a:spcBef>
          <a:spcPct val="0"/>
        </a:spcBef>
        <a:spcAft>
          <a:spcPct val="0"/>
        </a:spcAft>
        <a:defRPr b="1">
          <a:solidFill>
            <a:srgbClr val="00649D"/>
          </a:solidFill>
          <a:latin typeface="Arial" pitchFamily="34" charset="0"/>
          <a:cs typeface="Arial" pitchFamily="34" charset="0"/>
        </a:defRPr>
      </a:lvl7pPr>
      <a:lvl8pPr marL="1028700" algn="l" rtl="0" eaLnBrk="1" fontAlgn="base" hangingPunct="1">
        <a:spcBef>
          <a:spcPct val="0"/>
        </a:spcBef>
        <a:spcAft>
          <a:spcPct val="0"/>
        </a:spcAft>
        <a:defRPr b="1">
          <a:solidFill>
            <a:srgbClr val="00649D"/>
          </a:solidFill>
          <a:latin typeface="Arial" pitchFamily="34" charset="0"/>
          <a:cs typeface="Arial" pitchFamily="34" charset="0"/>
        </a:defRPr>
      </a:lvl8pPr>
      <a:lvl9pPr marL="1371600" algn="l" rtl="0" eaLnBrk="1" fontAlgn="base" hangingPunct="1">
        <a:spcBef>
          <a:spcPct val="0"/>
        </a:spcBef>
        <a:spcAft>
          <a:spcPct val="0"/>
        </a:spcAft>
        <a:defRPr b="1">
          <a:solidFill>
            <a:srgbClr val="00649D"/>
          </a:solidFill>
          <a:latin typeface="Arial" pitchFamily="34" charset="0"/>
          <a:cs typeface="Arial" pitchFamily="34" charset="0"/>
        </a:defRPr>
      </a:lvl9pPr>
    </p:titleStyle>
    <p:bodyStyle>
      <a:lvl1pPr marL="171450" indent="-171450" algn="l" rtl="0" eaLnBrk="1" fontAlgn="base" hangingPunct="1">
        <a:spcBef>
          <a:spcPct val="20000"/>
        </a:spcBef>
        <a:spcAft>
          <a:spcPct val="0"/>
        </a:spcAft>
        <a:buClr>
          <a:srgbClr val="00649D"/>
        </a:buClr>
        <a:buFont typeface="Wingdings" pitchFamily="2" charset="2"/>
        <a:buChar char="§"/>
        <a:defRPr sz="1350" baseline="0">
          <a:solidFill>
            <a:schemeClr val="tx1"/>
          </a:solidFill>
          <a:latin typeface="Arial" panose="020B0604020202020204" pitchFamily="34" charset="0"/>
          <a:ea typeface="+mn-ea"/>
          <a:cs typeface="Calibri" panose="020F0502020204030204" pitchFamily="34" charset="0"/>
        </a:defRPr>
      </a:lvl1pPr>
      <a:lvl2pPr marL="428625" indent="-171450" algn="l" rtl="0" eaLnBrk="1" fontAlgn="base" hangingPunct="1">
        <a:spcBef>
          <a:spcPct val="20000"/>
        </a:spcBef>
        <a:spcAft>
          <a:spcPct val="0"/>
        </a:spcAft>
        <a:buClr>
          <a:srgbClr val="00649D"/>
        </a:buClr>
        <a:buFont typeface="Arial" charset="0"/>
        <a:buChar char="»"/>
        <a:defRPr sz="1350" baseline="0">
          <a:solidFill>
            <a:schemeClr val="tx1"/>
          </a:solidFill>
          <a:latin typeface="Arial" panose="020B0604020202020204" pitchFamily="34" charset="0"/>
          <a:cs typeface="Calibri" panose="020F0502020204030204" pitchFamily="34" charset="0"/>
        </a:defRPr>
      </a:lvl2pPr>
      <a:lvl3pPr marL="771525" indent="-171450" algn="l" rtl="0" eaLnBrk="1" fontAlgn="base" hangingPunct="1">
        <a:spcBef>
          <a:spcPct val="20000"/>
        </a:spcBef>
        <a:spcAft>
          <a:spcPct val="0"/>
        </a:spcAft>
        <a:buClr>
          <a:srgbClr val="00649D"/>
        </a:buClr>
        <a:buChar char="•"/>
        <a:defRPr sz="1350" baseline="0">
          <a:solidFill>
            <a:schemeClr val="tx1"/>
          </a:solidFill>
          <a:latin typeface="Arial" panose="020B0604020202020204" pitchFamily="34" charset="0"/>
          <a:cs typeface="Calibri" panose="020F0502020204030204" pitchFamily="34" charset="0"/>
        </a:defRPr>
      </a:lvl3pPr>
      <a:lvl4pPr marL="1076325" indent="-133350" algn="l" rtl="0" eaLnBrk="1" fontAlgn="base" hangingPunct="1">
        <a:spcBef>
          <a:spcPct val="20000"/>
        </a:spcBef>
        <a:spcAft>
          <a:spcPct val="0"/>
        </a:spcAft>
        <a:buClr>
          <a:srgbClr val="00649D"/>
        </a:buClr>
        <a:buFont typeface="Arial" charset="0"/>
        <a:buChar char="–"/>
        <a:defRPr sz="1350" baseline="0">
          <a:solidFill>
            <a:schemeClr val="tx1"/>
          </a:solidFill>
          <a:latin typeface="Arial" panose="020B0604020202020204" pitchFamily="34" charset="0"/>
          <a:cs typeface="Calibri" panose="020F0502020204030204" pitchFamily="34" charset="0"/>
        </a:defRPr>
      </a:lvl4pPr>
      <a:lvl5pPr marL="1371600" indent="-171450" algn="l" rtl="0" eaLnBrk="1" fontAlgn="base" hangingPunct="1">
        <a:spcBef>
          <a:spcPct val="20000"/>
        </a:spcBef>
        <a:spcAft>
          <a:spcPct val="0"/>
        </a:spcAft>
        <a:buClr>
          <a:srgbClr val="00649D"/>
        </a:buClr>
        <a:buFont typeface="Arial" charset="0"/>
        <a:buChar char="•"/>
        <a:defRPr sz="1350" baseline="0">
          <a:solidFill>
            <a:schemeClr val="tx1"/>
          </a:solidFill>
          <a:latin typeface="Arial" panose="020B0604020202020204" pitchFamily="34" charset="0"/>
          <a:cs typeface="Calibri" panose="020F0502020204030204" pitchFamily="34" charset="0"/>
        </a:defRPr>
      </a:lvl5pPr>
      <a:lvl6pPr marL="1714500" indent="-171450" algn="l" rtl="0" eaLnBrk="1" fontAlgn="base" hangingPunct="1">
        <a:spcBef>
          <a:spcPct val="20000"/>
        </a:spcBef>
        <a:spcAft>
          <a:spcPct val="0"/>
        </a:spcAft>
        <a:buClr>
          <a:srgbClr val="00649D"/>
        </a:buClr>
        <a:buFont typeface="Arial" pitchFamily="34" charset="0"/>
        <a:buChar char="•"/>
        <a:defRPr sz="1050">
          <a:solidFill>
            <a:schemeClr val="tx1"/>
          </a:solidFill>
          <a:latin typeface="+mn-lt"/>
          <a:cs typeface="+mn-cs"/>
        </a:defRPr>
      </a:lvl6pPr>
      <a:lvl7pPr marL="2057400" indent="-171450" algn="l" rtl="0" eaLnBrk="1" fontAlgn="base" hangingPunct="1">
        <a:spcBef>
          <a:spcPct val="20000"/>
        </a:spcBef>
        <a:spcAft>
          <a:spcPct val="0"/>
        </a:spcAft>
        <a:buClr>
          <a:srgbClr val="00649D"/>
        </a:buClr>
        <a:buFont typeface="Arial" pitchFamily="34" charset="0"/>
        <a:buChar char="•"/>
        <a:defRPr sz="1050">
          <a:solidFill>
            <a:schemeClr val="tx1"/>
          </a:solidFill>
          <a:latin typeface="+mn-lt"/>
          <a:cs typeface="+mn-cs"/>
        </a:defRPr>
      </a:lvl7pPr>
      <a:lvl8pPr marL="2400300" indent="-171450" algn="l" rtl="0" eaLnBrk="1" fontAlgn="base" hangingPunct="1">
        <a:spcBef>
          <a:spcPct val="20000"/>
        </a:spcBef>
        <a:spcAft>
          <a:spcPct val="0"/>
        </a:spcAft>
        <a:buClr>
          <a:srgbClr val="00649D"/>
        </a:buClr>
        <a:buFont typeface="Arial" pitchFamily="34" charset="0"/>
        <a:buChar char="•"/>
        <a:defRPr sz="1050">
          <a:solidFill>
            <a:schemeClr val="tx1"/>
          </a:solidFill>
          <a:latin typeface="+mn-lt"/>
          <a:cs typeface="+mn-cs"/>
        </a:defRPr>
      </a:lvl8pPr>
      <a:lvl9pPr marL="2743200" indent="-171450" algn="l" rtl="0" eaLnBrk="1" fontAlgn="base" hangingPunct="1">
        <a:spcBef>
          <a:spcPct val="20000"/>
        </a:spcBef>
        <a:spcAft>
          <a:spcPct val="0"/>
        </a:spcAft>
        <a:buClr>
          <a:srgbClr val="00649D"/>
        </a:buClr>
        <a:buFont typeface="Arial" pitchFamily="34" charset="0"/>
        <a:buChar char="•"/>
        <a:defRPr sz="1050">
          <a:solidFill>
            <a:schemeClr val="tx1"/>
          </a:solidFill>
          <a:latin typeface="+mn-lt"/>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85750"/>
            <a:ext cx="82296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Text Heavy Slide</a:t>
            </a:r>
          </a:p>
        </p:txBody>
      </p:sp>
      <p:sp>
        <p:nvSpPr>
          <p:cNvPr id="1027" name="Text Placeholder 2"/>
          <p:cNvSpPr>
            <a:spLocks noGrp="1"/>
          </p:cNvSpPr>
          <p:nvPr>
            <p:ph type="body" idx="1"/>
          </p:nvPr>
        </p:nvSpPr>
        <p:spPr bwMode="auto">
          <a:xfrm>
            <a:off x="457200" y="971550"/>
            <a:ext cx="8229600" cy="362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Shape 281"/>
          <p:cNvSpPr txBox="1">
            <a:spLocks/>
          </p:cNvSpPr>
          <p:nvPr userDrawn="1"/>
        </p:nvSpPr>
        <p:spPr>
          <a:xfrm>
            <a:off x="476250" y="4705350"/>
            <a:ext cx="171450" cy="282575"/>
          </a:xfrm>
          <a:prstGeom prst="rect">
            <a:avLst/>
          </a:prstGeom>
          <a:ln w="12700">
            <a:miter lim="400000"/>
          </a:ln>
          <a:extLst>
            <a:ext uri="{C572A759-6A51-4108-AA02-DFA0A04FC94B}"/>
          </a:extLst>
        </p:spPr>
        <p:txBody>
          <a:bodyPr wrap="none" lIns="0" tIns="0" rIns="0" bIns="0">
            <a:spAutoFit/>
          </a:bodyPr>
          <a:lstStyle>
            <a:lvl1pPr defTabSz="825500">
              <a:defRPr>
                <a:solidFill>
                  <a:schemeClr val="tx1"/>
                </a:solidFill>
                <a:latin typeface="Arial" panose="020B0604020202020204" pitchFamily="34" charset="0"/>
                <a:cs typeface="Arial" panose="020B0604020202020204" pitchFamily="34" charset="0"/>
              </a:defRPr>
            </a:lvl1pPr>
            <a:lvl2pPr marL="742950" indent="-285750" defTabSz="825500">
              <a:defRPr>
                <a:solidFill>
                  <a:schemeClr val="tx1"/>
                </a:solidFill>
                <a:latin typeface="Arial" panose="020B0604020202020204" pitchFamily="34" charset="0"/>
                <a:cs typeface="Arial" panose="020B0604020202020204" pitchFamily="34" charset="0"/>
              </a:defRPr>
            </a:lvl2pPr>
            <a:lvl3pPr marL="1143000" indent="-228600" defTabSz="825500">
              <a:defRPr>
                <a:solidFill>
                  <a:schemeClr val="tx1"/>
                </a:solidFill>
                <a:latin typeface="Arial" panose="020B0604020202020204" pitchFamily="34" charset="0"/>
                <a:cs typeface="Arial" panose="020B0604020202020204" pitchFamily="34" charset="0"/>
              </a:defRPr>
            </a:lvl3pPr>
            <a:lvl4pPr marL="1600200" indent="-228600" defTabSz="825500">
              <a:defRPr>
                <a:solidFill>
                  <a:schemeClr val="tx1"/>
                </a:solidFill>
                <a:latin typeface="Arial" panose="020B0604020202020204" pitchFamily="34" charset="0"/>
                <a:cs typeface="Arial" panose="020B0604020202020204" pitchFamily="34" charset="0"/>
              </a:defRPr>
            </a:lvl4pPr>
            <a:lvl5pPr marL="2057400" indent="-228600" defTabSz="825500">
              <a:defRPr>
                <a:solidFill>
                  <a:schemeClr val="tx1"/>
                </a:solidFill>
                <a:latin typeface="Arial" panose="020B0604020202020204" pitchFamily="34" charset="0"/>
                <a:cs typeface="Arial" panose="020B0604020202020204" pitchFamily="34" charset="0"/>
              </a:defRPr>
            </a:lvl5pPr>
            <a:lvl6pPr marL="25146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55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lnSpc>
                <a:spcPts val="2600"/>
              </a:lnSpc>
              <a:defRPr/>
            </a:pPr>
            <a:fld id="{92E93245-491F-42EC-947F-2A3B7E69E790}" type="slidenum">
              <a:rPr lang="en-US" altLang="en-US" sz="1100" smtClean="0">
                <a:solidFill>
                  <a:schemeClr val="bg1"/>
                </a:solidFill>
                <a:sym typeface="Avenir Medium"/>
              </a:rPr>
              <a:pPr algn="r" eaLnBrk="1" hangingPunct="1">
                <a:lnSpc>
                  <a:spcPts val="2600"/>
                </a:lnSpc>
                <a:defRPr/>
              </a:pPr>
              <a:t>‹#›</a:t>
            </a:fld>
            <a:endParaRPr lang="en-US" altLang="en-US" sz="1100" dirty="0">
              <a:solidFill>
                <a:schemeClr val="bg1"/>
              </a:solidFill>
              <a:sym typeface="Avenir Medium"/>
            </a:endParaRPr>
          </a:p>
        </p:txBody>
      </p:sp>
    </p:spTree>
    <p:extLst>
      <p:ext uri="{BB962C8B-B14F-4D97-AF65-F5344CB8AC3E}">
        <p14:creationId xmlns:p14="http://schemas.microsoft.com/office/powerpoint/2010/main" val="1982276257"/>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20" r:id="rId6"/>
    <p:sldLayoutId id="2147483921" r:id="rId7"/>
  </p:sldLayoutIdLst>
  <p:transition/>
  <p:txStyles>
    <p:titleStyle>
      <a:lvl1pPr algn="l" rtl="0" eaLnBrk="0" fontAlgn="base" hangingPunct="0">
        <a:spcBef>
          <a:spcPct val="0"/>
        </a:spcBef>
        <a:spcAft>
          <a:spcPct val="0"/>
        </a:spcAft>
        <a:defRPr sz="3200" b="1" kern="1200">
          <a:solidFill>
            <a:srgbClr val="2D8DD7"/>
          </a:solidFill>
          <a:latin typeface="Arial" panose="020B0604020202020204" pitchFamily="34" charset="0"/>
          <a:ea typeface="+mj-ea"/>
          <a:cs typeface="Arial" panose="020B0604020202020204" pitchFamily="34" charset="0"/>
        </a:defRPr>
      </a:lvl1pPr>
      <a:lvl2pPr algn="l" rtl="0" eaLnBrk="0" fontAlgn="base" hangingPunct="0">
        <a:spcBef>
          <a:spcPct val="0"/>
        </a:spcBef>
        <a:spcAft>
          <a:spcPct val="0"/>
        </a:spcAft>
        <a:defRPr sz="3200" b="1">
          <a:solidFill>
            <a:srgbClr val="2D8DD7"/>
          </a:solidFill>
          <a:latin typeface="Arial" panose="020B0604020202020204" pitchFamily="34" charset="0"/>
          <a:cs typeface="Arial" panose="020B0604020202020204" pitchFamily="34" charset="0"/>
        </a:defRPr>
      </a:lvl2pPr>
      <a:lvl3pPr algn="l" rtl="0" eaLnBrk="0" fontAlgn="base" hangingPunct="0">
        <a:spcBef>
          <a:spcPct val="0"/>
        </a:spcBef>
        <a:spcAft>
          <a:spcPct val="0"/>
        </a:spcAft>
        <a:defRPr sz="3200" b="1">
          <a:solidFill>
            <a:srgbClr val="2D8DD7"/>
          </a:solidFill>
          <a:latin typeface="Arial" panose="020B0604020202020204" pitchFamily="34" charset="0"/>
          <a:cs typeface="Arial" panose="020B0604020202020204" pitchFamily="34" charset="0"/>
        </a:defRPr>
      </a:lvl3pPr>
      <a:lvl4pPr algn="l" rtl="0" eaLnBrk="0" fontAlgn="base" hangingPunct="0">
        <a:spcBef>
          <a:spcPct val="0"/>
        </a:spcBef>
        <a:spcAft>
          <a:spcPct val="0"/>
        </a:spcAft>
        <a:defRPr sz="3200" b="1">
          <a:solidFill>
            <a:srgbClr val="2D8DD7"/>
          </a:solidFill>
          <a:latin typeface="Arial" panose="020B0604020202020204" pitchFamily="34" charset="0"/>
          <a:cs typeface="Arial" panose="020B0604020202020204" pitchFamily="34" charset="0"/>
        </a:defRPr>
      </a:lvl4pPr>
      <a:lvl5pPr algn="l" rtl="0" eaLnBrk="0" fontAlgn="base" hangingPunct="0">
        <a:spcBef>
          <a:spcPct val="0"/>
        </a:spcBef>
        <a:spcAft>
          <a:spcPct val="0"/>
        </a:spcAft>
        <a:defRPr sz="3200" b="1">
          <a:solidFill>
            <a:srgbClr val="2D8DD7"/>
          </a:solidFill>
          <a:latin typeface="Arial" panose="020B0604020202020204" pitchFamily="34" charset="0"/>
          <a:cs typeface="Arial" panose="020B0604020202020204" pitchFamily="34" charset="0"/>
        </a:defRPr>
      </a:lvl5pPr>
      <a:lvl6pPr marL="457200" algn="l" rtl="0" fontAlgn="base">
        <a:spcBef>
          <a:spcPct val="0"/>
        </a:spcBef>
        <a:spcAft>
          <a:spcPct val="0"/>
        </a:spcAft>
        <a:defRPr sz="3200" b="1">
          <a:solidFill>
            <a:srgbClr val="2D8DD7"/>
          </a:solidFill>
          <a:latin typeface="Arial" panose="020B0604020202020204" pitchFamily="34" charset="0"/>
          <a:cs typeface="Arial" panose="020B0604020202020204" pitchFamily="34" charset="0"/>
        </a:defRPr>
      </a:lvl6pPr>
      <a:lvl7pPr marL="914400" algn="l" rtl="0" fontAlgn="base">
        <a:spcBef>
          <a:spcPct val="0"/>
        </a:spcBef>
        <a:spcAft>
          <a:spcPct val="0"/>
        </a:spcAft>
        <a:defRPr sz="3200" b="1">
          <a:solidFill>
            <a:srgbClr val="2D8DD7"/>
          </a:solidFill>
          <a:latin typeface="Arial" panose="020B0604020202020204" pitchFamily="34" charset="0"/>
          <a:cs typeface="Arial" panose="020B0604020202020204" pitchFamily="34" charset="0"/>
        </a:defRPr>
      </a:lvl7pPr>
      <a:lvl8pPr marL="1371600" algn="l" rtl="0" fontAlgn="base">
        <a:spcBef>
          <a:spcPct val="0"/>
        </a:spcBef>
        <a:spcAft>
          <a:spcPct val="0"/>
        </a:spcAft>
        <a:defRPr sz="3200" b="1">
          <a:solidFill>
            <a:srgbClr val="2D8DD7"/>
          </a:solidFill>
          <a:latin typeface="Arial" panose="020B0604020202020204" pitchFamily="34" charset="0"/>
          <a:cs typeface="Arial" panose="020B0604020202020204" pitchFamily="34" charset="0"/>
        </a:defRPr>
      </a:lvl8pPr>
      <a:lvl9pPr marL="1828800" algn="l" rtl="0" fontAlgn="base">
        <a:spcBef>
          <a:spcPct val="0"/>
        </a:spcBef>
        <a:spcAft>
          <a:spcPct val="0"/>
        </a:spcAft>
        <a:defRPr sz="3200" b="1">
          <a:solidFill>
            <a:srgbClr val="2D8DD7"/>
          </a:solidFill>
          <a:latin typeface="Arial" panose="020B0604020202020204" pitchFamily="34" charset="0"/>
          <a:cs typeface="Arial" panose="020B060402020202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2800" b="1" kern="1200">
          <a:solidFill>
            <a:srgbClr val="1B2F7C"/>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20000"/>
        </a:spcBef>
        <a:spcAft>
          <a:spcPct val="0"/>
        </a:spcAft>
        <a:buFont typeface="Arial" panose="020B0604020202020204" pitchFamily="34" charset="0"/>
        <a:buChar char="–"/>
        <a:defRPr sz="2400" kern="1200">
          <a:solidFill>
            <a:srgbClr val="4D4D4D"/>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20000"/>
        </a:spcBef>
        <a:spcAft>
          <a:spcPct val="0"/>
        </a:spcAft>
        <a:buFont typeface="Arial" panose="020B0604020202020204" pitchFamily="34" charset="0"/>
        <a:buChar char="•"/>
        <a:defRPr sz="2000" kern="1200">
          <a:solidFill>
            <a:srgbClr val="4D4D4D"/>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20000"/>
        </a:spcBef>
        <a:spcAft>
          <a:spcPct val="0"/>
        </a:spcAft>
        <a:buFont typeface="Arial" panose="020B0604020202020204" pitchFamily="34" charset="0"/>
        <a:buChar char="–"/>
        <a:defRPr kern="1200">
          <a:solidFill>
            <a:srgbClr val="4D4D4D"/>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20000"/>
        </a:spcBef>
        <a:spcAft>
          <a:spcPct val="0"/>
        </a:spcAft>
        <a:buFont typeface="Arial" panose="020B0604020202020204" pitchFamily="34" charset="0"/>
        <a:buChar char="»"/>
        <a:defRPr sz="1600" kern="1200">
          <a:solidFill>
            <a:srgbClr val="4D4D4D"/>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820" hidden="1"/>
          <p:cNvGraphicFramePr>
            <a:graphicFrameLocks noChangeAspect="1"/>
          </p:cNvGraphicFramePr>
          <p:nvPr>
            <p:custDataLst>
              <p:tags r:id="rId1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0494" name="think-cell Slide" r:id="rId13" imgW="360" imgH="360" progId="TCLayout.ActiveDocument.1">
                  <p:embed/>
                </p:oleObj>
              </mc:Choice>
              <mc:Fallback>
                <p:oleObj name="think-cell Slide" r:id="rId13" imgW="360" imgH="360" progId="TCLayout.ActiveDocument.1">
                  <p:embed/>
                  <p:pic>
                    <p:nvPicPr>
                      <p:cNvPr id="1026" name="Object 18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p:cNvSpPr>
            <a:spLocks noGrp="1" noChangeArrowheads="1"/>
          </p:cNvSpPr>
          <p:nvPr>
            <p:ph type="title"/>
          </p:nvPr>
        </p:nvSpPr>
        <p:spPr bwMode="auto">
          <a:xfrm>
            <a:off x="266700" y="432197"/>
            <a:ext cx="8559404"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1028" name="Rectangle 3"/>
          <p:cNvSpPr>
            <a:spLocks noGrp="1" noChangeArrowheads="1"/>
          </p:cNvSpPr>
          <p:nvPr>
            <p:ph type="body" idx="1"/>
          </p:nvPr>
        </p:nvSpPr>
        <p:spPr bwMode="auto">
          <a:xfrm>
            <a:off x="266700" y="1034654"/>
            <a:ext cx="8559404" cy="393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34" name="Rectangle 10"/>
          <p:cNvSpPr>
            <a:spLocks noChangeArrowheads="1"/>
          </p:cNvSpPr>
          <p:nvPr/>
        </p:nvSpPr>
        <p:spPr bwMode="auto">
          <a:xfrm>
            <a:off x="95250" y="4976813"/>
            <a:ext cx="171450" cy="113110"/>
          </a:xfrm>
          <a:prstGeom prst="rect">
            <a:avLst/>
          </a:prstGeom>
          <a:solidFill>
            <a:srgbClr val="000000">
              <a:alpha val="999"/>
            </a:srgbClr>
          </a:solidFill>
          <a:ln w="9525">
            <a:noFill/>
            <a:miter lim="800000"/>
            <a:headEnd/>
            <a:tailEnd/>
          </a:ln>
          <a:effectLst/>
        </p:spPr>
        <p:txBody>
          <a:bodyPr lIns="0" tIns="0" rIns="0" bIns="0"/>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eaLnBrk="1" hangingPunct="1">
              <a:defRPr/>
            </a:pPr>
            <a:fld id="{0FAB794B-F493-4B19-AE75-60045E8F76B0}" type="slidenum">
              <a:rPr kumimoji="0" lang="en-US" altLang="en-US" sz="600" smtClean="0">
                <a:solidFill>
                  <a:srgbClr val="595959"/>
                </a:solidFill>
              </a:rPr>
              <a:pPr eaLnBrk="1" hangingPunct="1">
                <a:defRPr/>
              </a:pPr>
              <a:t>‹#›</a:t>
            </a:fld>
            <a:endParaRPr kumimoji="0" lang="en-US" altLang="en-US" sz="600">
              <a:solidFill>
                <a:srgbClr val="595959"/>
              </a:solidFill>
            </a:endParaRPr>
          </a:p>
        </p:txBody>
      </p:sp>
      <p:sp>
        <p:nvSpPr>
          <p:cNvPr id="16" name="Rectangle 6"/>
          <p:cNvSpPr>
            <a:spLocks noChangeArrowheads="1"/>
          </p:cNvSpPr>
          <p:nvPr/>
        </p:nvSpPr>
        <p:spPr bwMode="black">
          <a:xfrm>
            <a:off x="7230666" y="4968479"/>
            <a:ext cx="1619250" cy="121444"/>
          </a:xfrm>
          <a:prstGeom prst="rect">
            <a:avLst/>
          </a:prstGeom>
          <a:noFill/>
          <a:ln w="9525">
            <a:noFill/>
            <a:miter lim="800000"/>
            <a:headEnd/>
            <a:tailEnd/>
          </a:ln>
        </p:spPr>
        <p:txBody>
          <a:bodyPr lIns="69056" tIns="34529" rIns="69056" bIns="34529"/>
          <a:lstStyle>
            <a:lvl1pPr eaLnBrk="0" hangingPunct="0">
              <a:defRPr b="1">
                <a:solidFill>
                  <a:schemeClr val="tx1"/>
                </a:solidFill>
                <a:latin typeface="Arial" pitchFamily="34" charset="0"/>
                <a:cs typeface="Arial" pitchFamily="34" charset="0"/>
              </a:defRPr>
            </a:lvl1pPr>
            <a:lvl2pPr marL="742950" indent="-285750" eaLnBrk="0" hangingPunct="0">
              <a:defRPr b="1">
                <a:solidFill>
                  <a:schemeClr val="tx1"/>
                </a:solidFill>
                <a:latin typeface="Arial" pitchFamily="34" charset="0"/>
                <a:cs typeface="Arial" pitchFamily="34" charset="0"/>
              </a:defRPr>
            </a:lvl2pPr>
            <a:lvl3pPr marL="1143000" indent="-228600" eaLnBrk="0" hangingPunct="0">
              <a:defRPr b="1">
                <a:solidFill>
                  <a:schemeClr val="tx1"/>
                </a:solidFill>
                <a:latin typeface="Arial" pitchFamily="34" charset="0"/>
                <a:cs typeface="Arial" pitchFamily="34" charset="0"/>
              </a:defRPr>
            </a:lvl3pPr>
            <a:lvl4pPr marL="1600200" indent="-228600" eaLnBrk="0" hangingPunct="0">
              <a:defRPr b="1">
                <a:solidFill>
                  <a:schemeClr val="tx1"/>
                </a:solidFill>
                <a:latin typeface="Arial" pitchFamily="34" charset="0"/>
                <a:cs typeface="Arial" pitchFamily="34" charset="0"/>
              </a:defRPr>
            </a:lvl4pPr>
            <a:lvl5pPr marL="2057400" indent="-228600" eaLnBrk="0" hangingPunct="0">
              <a:defRPr b="1">
                <a:solidFill>
                  <a:schemeClr val="tx1"/>
                </a:solidFill>
                <a:latin typeface="Arial" pitchFamily="34" charset="0"/>
                <a:cs typeface="Arial" pitchFamily="34" charset="0"/>
              </a:defRPr>
            </a:lvl5pPr>
            <a:lvl6pPr marL="2514600" indent="-228600" algn="r" eaLnBrk="0" fontAlgn="base" hangingPunct="0">
              <a:spcBef>
                <a:spcPct val="0"/>
              </a:spcBef>
              <a:spcAft>
                <a:spcPct val="0"/>
              </a:spcAft>
              <a:defRPr b="1">
                <a:solidFill>
                  <a:schemeClr val="tx1"/>
                </a:solidFill>
                <a:latin typeface="Arial" pitchFamily="34" charset="0"/>
                <a:cs typeface="Arial" pitchFamily="34" charset="0"/>
              </a:defRPr>
            </a:lvl6pPr>
            <a:lvl7pPr marL="2971800" indent="-228600" algn="r" eaLnBrk="0" fontAlgn="base" hangingPunct="0">
              <a:spcBef>
                <a:spcPct val="0"/>
              </a:spcBef>
              <a:spcAft>
                <a:spcPct val="0"/>
              </a:spcAft>
              <a:defRPr b="1">
                <a:solidFill>
                  <a:schemeClr val="tx1"/>
                </a:solidFill>
                <a:latin typeface="Arial" pitchFamily="34" charset="0"/>
                <a:cs typeface="Arial" pitchFamily="34" charset="0"/>
              </a:defRPr>
            </a:lvl7pPr>
            <a:lvl8pPr marL="3429000" indent="-228600" algn="r" eaLnBrk="0" fontAlgn="base" hangingPunct="0">
              <a:spcBef>
                <a:spcPct val="0"/>
              </a:spcBef>
              <a:spcAft>
                <a:spcPct val="0"/>
              </a:spcAft>
              <a:defRPr b="1">
                <a:solidFill>
                  <a:schemeClr val="tx1"/>
                </a:solidFill>
                <a:latin typeface="Arial" pitchFamily="34" charset="0"/>
                <a:cs typeface="Arial" pitchFamily="34" charset="0"/>
              </a:defRPr>
            </a:lvl8pPr>
            <a:lvl9pPr marL="3886200" indent="-228600" algn="r" eaLnBrk="0" fontAlgn="base" hangingPunct="0">
              <a:spcBef>
                <a:spcPct val="0"/>
              </a:spcBef>
              <a:spcAft>
                <a:spcPct val="0"/>
              </a:spcAft>
              <a:defRPr b="1">
                <a:solidFill>
                  <a:schemeClr val="tx1"/>
                </a:solidFill>
                <a:latin typeface="Arial" pitchFamily="34" charset="0"/>
                <a:cs typeface="Arial" pitchFamily="34" charset="0"/>
              </a:defRPr>
            </a:lvl9pPr>
          </a:lstStyle>
          <a:p>
            <a:pPr algn="ctr" eaLnBrk="1" hangingPunct="1">
              <a:defRPr/>
            </a:pPr>
            <a:r>
              <a:rPr kumimoji="0" lang="en-US" altLang="en-US" sz="600" b="0" dirty="0">
                <a:solidFill>
                  <a:schemeClr val="tx1">
                    <a:lumMod val="65000"/>
                    <a:lumOff val="35000"/>
                  </a:schemeClr>
                </a:solidFill>
                <a:ea typeface="+mn-ea"/>
              </a:rPr>
              <a:t> IBM Corporation Confidential</a:t>
            </a:r>
          </a:p>
        </p:txBody>
      </p:sp>
      <p:pic>
        <p:nvPicPr>
          <p:cNvPr id="1031" name="Picture 7" descr="logo-lockup.png"/>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7515225" y="19050"/>
            <a:ext cx="1343025" cy="341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4" name="Straight Connector 13"/>
          <p:cNvCxnSpPr/>
          <p:nvPr/>
        </p:nvCxnSpPr>
        <p:spPr>
          <a:xfrm>
            <a:off x="285750" y="432197"/>
            <a:ext cx="8572500" cy="0"/>
          </a:xfrm>
          <a:prstGeom prst="line">
            <a:avLst/>
          </a:prstGeom>
          <a:ln w="19050">
            <a:solidFill>
              <a:srgbClr val="B40F2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33184550"/>
      </p:ext>
    </p:extLst>
  </p:cSld>
  <p:clrMap bg1="lt1" tx1="dk1" bg2="lt2" tx2="dk2" accent1="accent1" accent2="accent2" accent3="accent3" accent4="accent4" accent5="accent5" accent6="accent6" hlink="hlink" folHlink="folHlink"/>
  <p:sldLayoutIdLst>
    <p:sldLayoutId id="2147484005" r:id="rId1"/>
    <p:sldLayoutId id="2147484006" r:id="rId2"/>
    <p:sldLayoutId id="2147484007" r:id="rId3"/>
    <p:sldLayoutId id="2147484008" r:id="rId4"/>
    <p:sldLayoutId id="2147484009" r:id="rId5"/>
    <p:sldLayoutId id="2147484011" r:id="rId6"/>
    <p:sldLayoutId id="2147484012" r:id="rId7"/>
    <p:sldLayoutId id="2147484014" r:id="rId8"/>
    <p:sldLayoutId id="2147484016" r:id="rId9"/>
  </p:sldLayoutIdLst>
  <p:transition>
    <p:fade/>
  </p:transition>
  <p:hf sldNum="0" hdr="0" dt="0"/>
  <p:txStyles>
    <p:titleStyle>
      <a:lvl1pPr algn="l" rtl="0" eaLnBrk="0" fontAlgn="base" hangingPunct="0">
        <a:spcBef>
          <a:spcPct val="0"/>
        </a:spcBef>
        <a:spcAft>
          <a:spcPct val="0"/>
        </a:spcAft>
        <a:defRPr sz="1800" b="1">
          <a:solidFill>
            <a:srgbClr val="00649D"/>
          </a:solidFill>
          <a:latin typeface="Arial" panose="020B0604020202020204" pitchFamily="34" charset="0"/>
          <a:ea typeface="Calibri" pitchFamily="34" charset="0"/>
          <a:cs typeface="Calibri" panose="020F0502020204030204" pitchFamily="34" charset="0"/>
        </a:defRPr>
      </a:lvl1pPr>
      <a:lvl2pPr algn="l" rtl="0" eaLnBrk="0" fontAlgn="base" hangingPunct="0">
        <a:spcBef>
          <a:spcPct val="0"/>
        </a:spcBef>
        <a:spcAft>
          <a:spcPct val="0"/>
        </a:spcAft>
        <a:defRPr sz="1800" b="1">
          <a:solidFill>
            <a:srgbClr val="00649D"/>
          </a:solidFill>
          <a:latin typeface="Arial" pitchFamily="34" charset="0"/>
          <a:ea typeface="Calibri" pitchFamily="34" charset="0"/>
          <a:cs typeface="Calibri" pitchFamily="34" charset="0"/>
        </a:defRPr>
      </a:lvl2pPr>
      <a:lvl3pPr algn="l" rtl="0" eaLnBrk="0" fontAlgn="base" hangingPunct="0">
        <a:spcBef>
          <a:spcPct val="0"/>
        </a:spcBef>
        <a:spcAft>
          <a:spcPct val="0"/>
        </a:spcAft>
        <a:defRPr sz="1800" b="1">
          <a:solidFill>
            <a:srgbClr val="00649D"/>
          </a:solidFill>
          <a:latin typeface="Arial" pitchFamily="34" charset="0"/>
          <a:ea typeface="Calibri" pitchFamily="34" charset="0"/>
          <a:cs typeface="Calibri" pitchFamily="34" charset="0"/>
        </a:defRPr>
      </a:lvl3pPr>
      <a:lvl4pPr algn="l" rtl="0" eaLnBrk="0" fontAlgn="base" hangingPunct="0">
        <a:spcBef>
          <a:spcPct val="0"/>
        </a:spcBef>
        <a:spcAft>
          <a:spcPct val="0"/>
        </a:spcAft>
        <a:defRPr sz="1800" b="1">
          <a:solidFill>
            <a:srgbClr val="00649D"/>
          </a:solidFill>
          <a:latin typeface="Arial" pitchFamily="34" charset="0"/>
          <a:ea typeface="Calibri" pitchFamily="34" charset="0"/>
          <a:cs typeface="Calibri" pitchFamily="34" charset="0"/>
        </a:defRPr>
      </a:lvl4pPr>
      <a:lvl5pPr algn="l" rtl="0" eaLnBrk="0" fontAlgn="base" hangingPunct="0">
        <a:spcBef>
          <a:spcPct val="0"/>
        </a:spcBef>
        <a:spcAft>
          <a:spcPct val="0"/>
        </a:spcAft>
        <a:defRPr sz="1800" b="1">
          <a:solidFill>
            <a:srgbClr val="00649D"/>
          </a:solidFill>
          <a:latin typeface="Arial" pitchFamily="34" charset="0"/>
          <a:ea typeface="Calibri" pitchFamily="34" charset="0"/>
          <a:cs typeface="Calibri" pitchFamily="34" charset="0"/>
        </a:defRPr>
      </a:lvl5pPr>
      <a:lvl6pPr marL="342900" algn="l" rtl="0" eaLnBrk="1" fontAlgn="base" hangingPunct="1">
        <a:spcBef>
          <a:spcPct val="0"/>
        </a:spcBef>
        <a:spcAft>
          <a:spcPct val="0"/>
        </a:spcAft>
        <a:defRPr b="1">
          <a:solidFill>
            <a:srgbClr val="00649D"/>
          </a:solidFill>
          <a:latin typeface="Arial" pitchFamily="34" charset="0"/>
          <a:cs typeface="Arial" pitchFamily="34" charset="0"/>
        </a:defRPr>
      </a:lvl6pPr>
      <a:lvl7pPr marL="685800" algn="l" rtl="0" eaLnBrk="1" fontAlgn="base" hangingPunct="1">
        <a:spcBef>
          <a:spcPct val="0"/>
        </a:spcBef>
        <a:spcAft>
          <a:spcPct val="0"/>
        </a:spcAft>
        <a:defRPr b="1">
          <a:solidFill>
            <a:srgbClr val="00649D"/>
          </a:solidFill>
          <a:latin typeface="Arial" pitchFamily="34" charset="0"/>
          <a:cs typeface="Arial" pitchFamily="34" charset="0"/>
        </a:defRPr>
      </a:lvl7pPr>
      <a:lvl8pPr marL="1028700" algn="l" rtl="0" eaLnBrk="1" fontAlgn="base" hangingPunct="1">
        <a:spcBef>
          <a:spcPct val="0"/>
        </a:spcBef>
        <a:spcAft>
          <a:spcPct val="0"/>
        </a:spcAft>
        <a:defRPr b="1">
          <a:solidFill>
            <a:srgbClr val="00649D"/>
          </a:solidFill>
          <a:latin typeface="Arial" pitchFamily="34" charset="0"/>
          <a:cs typeface="Arial" pitchFamily="34" charset="0"/>
        </a:defRPr>
      </a:lvl8pPr>
      <a:lvl9pPr marL="1371600" algn="l" rtl="0" eaLnBrk="1" fontAlgn="base" hangingPunct="1">
        <a:spcBef>
          <a:spcPct val="0"/>
        </a:spcBef>
        <a:spcAft>
          <a:spcPct val="0"/>
        </a:spcAft>
        <a:defRPr b="1">
          <a:solidFill>
            <a:srgbClr val="00649D"/>
          </a:solidFill>
          <a:latin typeface="Arial" pitchFamily="34" charset="0"/>
          <a:cs typeface="Arial" pitchFamily="34" charset="0"/>
        </a:defRPr>
      </a:lvl9pPr>
    </p:titleStyle>
    <p:bodyStyle>
      <a:lvl1pPr marL="171450" indent="-171450" algn="l" rtl="0" eaLnBrk="0" fontAlgn="base" hangingPunct="0">
        <a:spcBef>
          <a:spcPct val="20000"/>
        </a:spcBef>
        <a:spcAft>
          <a:spcPct val="0"/>
        </a:spcAft>
        <a:buClr>
          <a:srgbClr val="00649D"/>
        </a:buClr>
        <a:buFont typeface="Wingdings" panose="05000000000000000000" pitchFamily="2" charset="2"/>
        <a:buChar char="§"/>
        <a:defRPr>
          <a:solidFill>
            <a:schemeClr val="tx1"/>
          </a:solidFill>
          <a:latin typeface="Arial" panose="020B0604020202020204" pitchFamily="34" charset="0"/>
          <a:ea typeface="Calibri" pitchFamily="34" charset="0"/>
          <a:cs typeface="Calibri" panose="020F0502020204030204" pitchFamily="34" charset="0"/>
        </a:defRPr>
      </a:lvl1pPr>
      <a:lvl2pPr marL="428625" indent="-171450" algn="l" rtl="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itchFamily="34" charset="0"/>
          <a:cs typeface="Calibri" panose="020F0502020204030204" pitchFamily="34" charset="0"/>
        </a:defRPr>
      </a:lvl2pPr>
      <a:lvl3pPr marL="771525" indent="-171450" algn="l" rtl="0" eaLnBrk="0" fontAlgn="base" hangingPunct="0">
        <a:spcBef>
          <a:spcPct val="20000"/>
        </a:spcBef>
        <a:spcAft>
          <a:spcPct val="0"/>
        </a:spcAft>
        <a:buClr>
          <a:srgbClr val="00649D"/>
        </a:buClr>
        <a:buChar char="•"/>
        <a:defRPr>
          <a:solidFill>
            <a:schemeClr val="tx1"/>
          </a:solidFill>
          <a:latin typeface="Arial" panose="020B0604020202020204" pitchFamily="34" charset="0"/>
          <a:ea typeface="Calibri" pitchFamily="34" charset="0"/>
          <a:cs typeface="Calibri" panose="020F0502020204030204" pitchFamily="34" charset="0"/>
        </a:defRPr>
      </a:lvl3pPr>
      <a:lvl4pPr marL="1076325" indent="-133350" algn="l" rtl="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itchFamily="34" charset="0"/>
          <a:cs typeface="Calibri" panose="020F0502020204030204" pitchFamily="34" charset="0"/>
        </a:defRPr>
      </a:lvl4pPr>
      <a:lvl5pPr marL="1371600" indent="-171450" algn="l" rtl="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itchFamily="34" charset="0"/>
          <a:cs typeface="Calibri" panose="020F0502020204030204" pitchFamily="34" charset="0"/>
        </a:defRPr>
      </a:lvl5pPr>
      <a:lvl6pPr marL="1714500" indent="-171450" algn="l" rtl="0" eaLnBrk="1" fontAlgn="base" hangingPunct="1">
        <a:spcBef>
          <a:spcPct val="20000"/>
        </a:spcBef>
        <a:spcAft>
          <a:spcPct val="0"/>
        </a:spcAft>
        <a:buClr>
          <a:srgbClr val="00649D"/>
        </a:buClr>
        <a:buFont typeface="Arial" pitchFamily="34" charset="0"/>
        <a:buChar char="•"/>
        <a:defRPr sz="1050">
          <a:solidFill>
            <a:schemeClr val="tx1"/>
          </a:solidFill>
          <a:latin typeface="+mn-lt"/>
          <a:cs typeface="+mn-cs"/>
        </a:defRPr>
      </a:lvl6pPr>
      <a:lvl7pPr marL="2057400" indent="-171450" algn="l" rtl="0" eaLnBrk="1" fontAlgn="base" hangingPunct="1">
        <a:spcBef>
          <a:spcPct val="20000"/>
        </a:spcBef>
        <a:spcAft>
          <a:spcPct val="0"/>
        </a:spcAft>
        <a:buClr>
          <a:srgbClr val="00649D"/>
        </a:buClr>
        <a:buFont typeface="Arial" pitchFamily="34" charset="0"/>
        <a:buChar char="•"/>
        <a:defRPr sz="1050">
          <a:solidFill>
            <a:schemeClr val="tx1"/>
          </a:solidFill>
          <a:latin typeface="+mn-lt"/>
          <a:cs typeface="+mn-cs"/>
        </a:defRPr>
      </a:lvl7pPr>
      <a:lvl8pPr marL="2400300" indent="-171450" algn="l" rtl="0" eaLnBrk="1" fontAlgn="base" hangingPunct="1">
        <a:spcBef>
          <a:spcPct val="20000"/>
        </a:spcBef>
        <a:spcAft>
          <a:spcPct val="0"/>
        </a:spcAft>
        <a:buClr>
          <a:srgbClr val="00649D"/>
        </a:buClr>
        <a:buFont typeface="Arial" pitchFamily="34" charset="0"/>
        <a:buChar char="•"/>
        <a:defRPr sz="1050">
          <a:solidFill>
            <a:schemeClr val="tx1"/>
          </a:solidFill>
          <a:latin typeface="+mn-lt"/>
          <a:cs typeface="+mn-cs"/>
        </a:defRPr>
      </a:lvl8pPr>
      <a:lvl9pPr marL="2743200" indent="-171450" algn="l" rtl="0" eaLnBrk="1" fontAlgn="base" hangingPunct="1">
        <a:spcBef>
          <a:spcPct val="20000"/>
        </a:spcBef>
        <a:spcAft>
          <a:spcPct val="0"/>
        </a:spcAft>
        <a:buClr>
          <a:srgbClr val="00649D"/>
        </a:buClr>
        <a:buFont typeface="Arial" pitchFamily="34" charset="0"/>
        <a:buChar char="•"/>
        <a:defRPr sz="1050">
          <a:solidFill>
            <a:schemeClr val="tx1"/>
          </a:solidFill>
          <a:latin typeface="+mn-lt"/>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1820"/>
          <p:cNvGraphicFramePr>
            <a:graphicFrameLocks noChangeAspect="1"/>
          </p:cNvGraphicFramePr>
          <p:nvPr>
            <p:custDataLst>
              <p:tags r:id="rId15"/>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2536" name="think-cell Slide" r:id="rId16" imgW="360" imgH="360" progId="TCLayout.ActiveDocument.1">
                  <p:embed/>
                </p:oleObj>
              </mc:Choice>
              <mc:Fallback>
                <p:oleObj name="think-cell Slide" r:id="rId16" imgW="360" imgH="360" progId="TCLayout.ActiveDocument.1">
                  <p:embed/>
                  <p:pic>
                    <p:nvPicPr>
                      <p:cNvPr id="2050" name="Object 1820"/>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Rectangle 2"/>
          <p:cNvSpPr>
            <a:spLocks noGrp="1" noChangeArrowheads="1"/>
          </p:cNvSpPr>
          <p:nvPr>
            <p:ph type="title"/>
          </p:nvPr>
        </p:nvSpPr>
        <p:spPr bwMode="auto">
          <a:xfrm>
            <a:off x="266700" y="432197"/>
            <a:ext cx="8559404"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2052" name="Rectangle 3"/>
          <p:cNvSpPr>
            <a:spLocks noGrp="1" noChangeArrowheads="1"/>
          </p:cNvSpPr>
          <p:nvPr>
            <p:ph type="body" idx="1"/>
          </p:nvPr>
        </p:nvSpPr>
        <p:spPr bwMode="auto">
          <a:xfrm>
            <a:off x="266700" y="1034654"/>
            <a:ext cx="8559404" cy="393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34" name="Rectangle 10"/>
          <p:cNvSpPr>
            <a:spLocks noChangeArrowheads="1"/>
          </p:cNvSpPr>
          <p:nvPr/>
        </p:nvSpPr>
        <p:spPr bwMode="auto">
          <a:xfrm>
            <a:off x="95250" y="4976813"/>
            <a:ext cx="171450" cy="113110"/>
          </a:xfrm>
          <a:prstGeom prst="rect">
            <a:avLst/>
          </a:prstGeom>
          <a:solidFill>
            <a:srgbClr val="000000">
              <a:alpha val="999"/>
            </a:srgbClr>
          </a:solidFill>
          <a:ln w="9525">
            <a:noFill/>
            <a:miter lim="800000"/>
            <a:headEnd/>
            <a:tailEnd/>
          </a:ln>
          <a:effectLst/>
        </p:spPr>
        <p:txBody>
          <a:bodyPr lIns="0" tIns="0" rIns="0" bIns="0"/>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eaLnBrk="1" hangingPunct="1">
              <a:defRPr/>
            </a:pPr>
            <a:fld id="{AAC75E6E-E84A-431D-81E6-19DDB3CC6104}" type="slidenum">
              <a:rPr kumimoji="0" lang="en-US" altLang="en-US" sz="600" smtClean="0">
                <a:solidFill>
                  <a:srgbClr val="595959"/>
                </a:solidFill>
              </a:rPr>
              <a:pPr eaLnBrk="1" hangingPunct="1">
                <a:defRPr/>
              </a:pPr>
              <a:t>‹#›</a:t>
            </a:fld>
            <a:endParaRPr kumimoji="0" lang="en-US" altLang="en-US" sz="600">
              <a:solidFill>
                <a:srgbClr val="595959"/>
              </a:solidFill>
            </a:endParaRPr>
          </a:p>
        </p:txBody>
      </p:sp>
      <p:sp>
        <p:nvSpPr>
          <p:cNvPr id="16" name="Rectangle 6"/>
          <p:cNvSpPr>
            <a:spLocks noChangeArrowheads="1"/>
          </p:cNvSpPr>
          <p:nvPr/>
        </p:nvSpPr>
        <p:spPr bwMode="black">
          <a:xfrm>
            <a:off x="7230666" y="4968479"/>
            <a:ext cx="1619250" cy="121444"/>
          </a:xfrm>
          <a:prstGeom prst="rect">
            <a:avLst/>
          </a:prstGeom>
          <a:noFill/>
          <a:ln w="9525">
            <a:noFill/>
            <a:miter lim="800000"/>
            <a:headEnd/>
            <a:tailEnd/>
          </a:ln>
        </p:spPr>
        <p:txBody>
          <a:bodyPr lIns="69056" tIns="34529" rIns="69056" bIns="34529"/>
          <a:lstStyle>
            <a:lvl1pPr eaLnBrk="0" hangingPunct="0">
              <a:defRPr b="1">
                <a:solidFill>
                  <a:schemeClr val="tx1"/>
                </a:solidFill>
                <a:latin typeface="Arial" pitchFamily="34" charset="0"/>
                <a:cs typeface="Arial" pitchFamily="34" charset="0"/>
              </a:defRPr>
            </a:lvl1pPr>
            <a:lvl2pPr marL="742950" indent="-285750" eaLnBrk="0" hangingPunct="0">
              <a:defRPr b="1">
                <a:solidFill>
                  <a:schemeClr val="tx1"/>
                </a:solidFill>
                <a:latin typeface="Arial" pitchFamily="34" charset="0"/>
                <a:cs typeface="Arial" pitchFamily="34" charset="0"/>
              </a:defRPr>
            </a:lvl2pPr>
            <a:lvl3pPr marL="1143000" indent="-228600" eaLnBrk="0" hangingPunct="0">
              <a:defRPr b="1">
                <a:solidFill>
                  <a:schemeClr val="tx1"/>
                </a:solidFill>
                <a:latin typeface="Arial" pitchFamily="34" charset="0"/>
                <a:cs typeface="Arial" pitchFamily="34" charset="0"/>
              </a:defRPr>
            </a:lvl3pPr>
            <a:lvl4pPr marL="1600200" indent="-228600" eaLnBrk="0" hangingPunct="0">
              <a:defRPr b="1">
                <a:solidFill>
                  <a:schemeClr val="tx1"/>
                </a:solidFill>
                <a:latin typeface="Arial" pitchFamily="34" charset="0"/>
                <a:cs typeface="Arial" pitchFamily="34" charset="0"/>
              </a:defRPr>
            </a:lvl4pPr>
            <a:lvl5pPr marL="2057400" indent="-228600" eaLnBrk="0" hangingPunct="0">
              <a:defRPr b="1">
                <a:solidFill>
                  <a:schemeClr val="tx1"/>
                </a:solidFill>
                <a:latin typeface="Arial" pitchFamily="34" charset="0"/>
                <a:cs typeface="Arial" pitchFamily="34" charset="0"/>
              </a:defRPr>
            </a:lvl5pPr>
            <a:lvl6pPr marL="2514600" indent="-228600" algn="r" eaLnBrk="0" fontAlgn="base" hangingPunct="0">
              <a:spcBef>
                <a:spcPct val="0"/>
              </a:spcBef>
              <a:spcAft>
                <a:spcPct val="0"/>
              </a:spcAft>
              <a:defRPr b="1">
                <a:solidFill>
                  <a:schemeClr val="tx1"/>
                </a:solidFill>
                <a:latin typeface="Arial" pitchFamily="34" charset="0"/>
                <a:cs typeface="Arial" pitchFamily="34" charset="0"/>
              </a:defRPr>
            </a:lvl6pPr>
            <a:lvl7pPr marL="2971800" indent="-228600" algn="r" eaLnBrk="0" fontAlgn="base" hangingPunct="0">
              <a:spcBef>
                <a:spcPct val="0"/>
              </a:spcBef>
              <a:spcAft>
                <a:spcPct val="0"/>
              </a:spcAft>
              <a:defRPr b="1">
                <a:solidFill>
                  <a:schemeClr val="tx1"/>
                </a:solidFill>
                <a:latin typeface="Arial" pitchFamily="34" charset="0"/>
                <a:cs typeface="Arial" pitchFamily="34" charset="0"/>
              </a:defRPr>
            </a:lvl7pPr>
            <a:lvl8pPr marL="3429000" indent="-228600" algn="r" eaLnBrk="0" fontAlgn="base" hangingPunct="0">
              <a:spcBef>
                <a:spcPct val="0"/>
              </a:spcBef>
              <a:spcAft>
                <a:spcPct val="0"/>
              </a:spcAft>
              <a:defRPr b="1">
                <a:solidFill>
                  <a:schemeClr val="tx1"/>
                </a:solidFill>
                <a:latin typeface="Arial" pitchFamily="34" charset="0"/>
                <a:cs typeface="Arial" pitchFamily="34" charset="0"/>
              </a:defRPr>
            </a:lvl8pPr>
            <a:lvl9pPr marL="3886200" indent="-228600" algn="r" eaLnBrk="0" fontAlgn="base" hangingPunct="0">
              <a:spcBef>
                <a:spcPct val="0"/>
              </a:spcBef>
              <a:spcAft>
                <a:spcPct val="0"/>
              </a:spcAft>
              <a:defRPr b="1">
                <a:solidFill>
                  <a:schemeClr val="tx1"/>
                </a:solidFill>
                <a:latin typeface="Arial" pitchFamily="34" charset="0"/>
                <a:cs typeface="Arial" pitchFamily="34" charset="0"/>
              </a:defRPr>
            </a:lvl9pPr>
          </a:lstStyle>
          <a:p>
            <a:pPr algn="ctr" eaLnBrk="1" hangingPunct="1">
              <a:defRPr/>
            </a:pPr>
            <a:r>
              <a:rPr kumimoji="0" lang="en-US" altLang="en-US" sz="600" b="0" dirty="0">
                <a:solidFill>
                  <a:srgbClr val="000000">
                    <a:lumMod val="65000"/>
                    <a:lumOff val="35000"/>
                  </a:srgbClr>
                </a:solidFill>
                <a:ea typeface="MS PGothic" charset="-128"/>
              </a:rPr>
              <a:t> IBM Corporation Confidential</a:t>
            </a:r>
          </a:p>
        </p:txBody>
      </p:sp>
      <p:pic>
        <p:nvPicPr>
          <p:cNvPr id="2055" name="Picture 7" descr="logo-lockup.png"/>
          <p:cNvPicPr>
            <a:picLocks noChangeAspect="1"/>
          </p:cNvPicPr>
          <p:nvPr/>
        </p:nvPicPr>
        <p:blipFill>
          <a:blip r:embed="rId18">
            <a:extLst>
              <a:ext uri="{28A0092B-C50C-407E-A947-70E740481C1C}">
                <a14:useLocalDpi xmlns:a14="http://schemas.microsoft.com/office/drawing/2010/main" val="0"/>
              </a:ext>
            </a:extLst>
          </a:blip>
          <a:srcRect/>
          <a:stretch>
            <a:fillRect/>
          </a:stretch>
        </p:blipFill>
        <p:spPr bwMode="auto">
          <a:xfrm>
            <a:off x="7600950" y="19050"/>
            <a:ext cx="1343025" cy="341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 name="Picture 11" descr="logo-lockup.png"/>
          <p:cNvPicPr>
            <a:picLocks noChangeAspect="1"/>
          </p:cNvPicPr>
          <p:nvPr/>
        </p:nvPicPr>
        <p:blipFill>
          <a:blip r:embed="rId19">
            <a:extLst>
              <a:ext uri="{28A0092B-C50C-407E-A947-70E740481C1C}">
                <a14:useLocalDpi xmlns:a14="http://schemas.microsoft.com/office/drawing/2010/main" val="0"/>
              </a:ext>
            </a:extLst>
          </a:blip>
          <a:srcRect/>
          <a:stretch>
            <a:fillRect/>
          </a:stretch>
        </p:blipFill>
        <p:spPr bwMode="auto">
          <a:xfrm>
            <a:off x="8953500" y="19050"/>
            <a:ext cx="120254" cy="340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4" name="Straight Connector 13"/>
          <p:cNvCxnSpPr/>
          <p:nvPr/>
        </p:nvCxnSpPr>
        <p:spPr>
          <a:xfrm>
            <a:off x="0" y="432197"/>
            <a:ext cx="9144000" cy="0"/>
          </a:xfrm>
          <a:prstGeom prst="line">
            <a:avLst/>
          </a:prstGeom>
          <a:ln w="19050">
            <a:solidFill>
              <a:srgbClr val="0167BB"/>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45014219"/>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 id="2147484028" r:id="rId11"/>
    <p:sldLayoutId id="2147484029" r:id="rId12"/>
  </p:sldLayoutIdLst>
  <p:transition>
    <p:fade/>
  </p:transition>
  <p:hf sldNum="0" hdr="0" dt="0"/>
  <p:txStyles>
    <p:titleStyle>
      <a:lvl1pPr algn="l" rtl="0" eaLnBrk="0" fontAlgn="base" hangingPunct="0">
        <a:spcBef>
          <a:spcPct val="0"/>
        </a:spcBef>
        <a:spcAft>
          <a:spcPct val="0"/>
        </a:spcAft>
        <a:defRPr sz="1800" b="1">
          <a:solidFill>
            <a:srgbClr val="00649D"/>
          </a:solidFill>
          <a:latin typeface="Arial" panose="020B0604020202020204" pitchFamily="34" charset="0"/>
          <a:ea typeface="Calibri" pitchFamily="34" charset="0"/>
          <a:cs typeface="Calibri" panose="020F0502020204030204" pitchFamily="34" charset="0"/>
        </a:defRPr>
      </a:lvl1pPr>
      <a:lvl2pPr algn="l" rtl="0" eaLnBrk="0" fontAlgn="base" hangingPunct="0">
        <a:spcBef>
          <a:spcPct val="0"/>
        </a:spcBef>
        <a:spcAft>
          <a:spcPct val="0"/>
        </a:spcAft>
        <a:defRPr sz="1800" b="1">
          <a:solidFill>
            <a:srgbClr val="00649D"/>
          </a:solidFill>
          <a:latin typeface="Arial" pitchFamily="34" charset="0"/>
          <a:ea typeface="Calibri" pitchFamily="34" charset="0"/>
          <a:cs typeface="Calibri" pitchFamily="34" charset="0"/>
        </a:defRPr>
      </a:lvl2pPr>
      <a:lvl3pPr algn="l" rtl="0" eaLnBrk="0" fontAlgn="base" hangingPunct="0">
        <a:spcBef>
          <a:spcPct val="0"/>
        </a:spcBef>
        <a:spcAft>
          <a:spcPct val="0"/>
        </a:spcAft>
        <a:defRPr sz="1800" b="1">
          <a:solidFill>
            <a:srgbClr val="00649D"/>
          </a:solidFill>
          <a:latin typeface="Arial" pitchFamily="34" charset="0"/>
          <a:ea typeface="Calibri" pitchFamily="34" charset="0"/>
          <a:cs typeface="Calibri" pitchFamily="34" charset="0"/>
        </a:defRPr>
      </a:lvl3pPr>
      <a:lvl4pPr algn="l" rtl="0" eaLnBrk="0" fontAlgn="base" hangingPunct="0">
        <a:spcBef>
          <a:spcPct val="0"/>
        </a:spcBef>
        <a:spcAft>
          <a:spcPct val="0"/>
        </a:spcAft>
        <a:defRPr sz="1800" b="1">
          <a:solidFill>
            <a:srgbClr val="00649D"/>
          </a:solidFill>
          <a:latin typeface="Arial" pitchFamily="34" charset="0"/>
          <a:ea typeface="Calibri" pitchFamily="34" charset="0"/>
          <a:cs typeface="Calibri" pitchFamily="34" charset="0"/>
        </a:defRPr>
      </a:lvl4pPr>
      <a:lvl5pPr algn="l" rtl="0" eaLnBrk="0" fontAlgn="base" hangingPunct="0">
        <a:spcBef>
          <a:spcPct val="0"/>
        </a:spcBef>
        <a:spcAft>
          <a:spcPct val="0"/>
        </a:spcAft>
        <a:defRPr sz="1800" b="1">
          <a:solidFill>
            <a:srgbClr val="00649D"/>
          </a:solidFill>
          <a:latin typeface="Arial" pitchFamily="34" charset="0"/>
          <a:ea typeface="Calibri" pitchFamily="34" charset="0"/>
          <a:cs typeface="Calibri" pitchFamily="34" charset="0"/>
        </a:defRPr>
      </a:lvl5pPr>
      <a:lvl6pPr marL="342900" algn="l" rtl="0" eaLnBrk="1" fontAlgn="base" hangingPunct="1">
        <a:spcBef>
          <a:spcPct val="0"/>
        </a:spcBef>
        <a:spcAft>
          <a:spcPct val="0"/>
        </a:spcAft>
        <a:defRPr b="1">
          <a:solidFill>
            <a:srgbClr val="00649D"/>
          </a:solidFill>
          <a:latin typeface="Arial" pitchFamily="34" charset="0"/>
          <a:cs typeface="Arial" pitchFamily="34" charset="0"/>
        </a:defRPr>
      </a:lvl6pPr>
      <a:lvl7pPr marL="685800" algn="l" rtl="0" eaLnBrk="1" fontAlgn="base" hangingPunct="1">
        <a:spcBef>
          <a:spcPct val="0"/>
        </a:spcBef>
        <a:spcAft>
          <a:spcPct val="0"/>
        </a:spcAft>
        <a:defRPr b="1">
          <a:solidFill>
            <a:srgbClr val="00649D"/>
          </a:solidFill>
          <a:latin typeface="Arial" pitchFamily="34" charset="0"/>
          <a:cs typeface="Arial" pitchFamily="34" charset="0"/>
        </a:defRPr>
      </a:lvl7pPr>
      <a:lvl8pPr marL="1028700" algn="l" rtl="0" eaLnBrk="1" fontAlgn="base" hangingPunct="1">
        <a:spcBef>
          <a:spcPct val="0"/>
        </a:spcBef>
        <a:spcAft>
          <a:spcPct val="0"/>
        </a:spcAft>
        <a:defRPr b="1">
          <a:solidFill>
            <a:srgbClr val="00649D"/>
          </a:solidFill>
          <a:latin typeface="Arial" pitchFamily="34" charset="0"/>
          <a:cs typeface="Arial" pitchFamily="34" charset="0"/>
        </a:defRPr>
      </a:lvl8pPr>
      <a:lvl9pPr marL="1371600" algn="l" rtl="0" eaLnBrk="1" fontAlgn="base" hangingPunct="1">
        <a:spcBef>
          <a:spcPct val="0"/>
        </a:spcBef>
        <a:spcAft>
          <a:spcPct val="0"/>
        </a:spcAft>
        <a:defRPr b="1">
          <a:solidFill>
            <a:srgbClr val="00649D"/>
          </a:solidFill>
          <a:latin typeface="Arial" pitchFamily="34" charset="0"/>
          <a:cs typeface="Arial" pitchFamily="34" charset="0"/>
        </a:defRPr>
      </a:lvl9pPr>
    </p:titleStyle>
    <p:bodyStyle>
      <a:lvl1pPr marL="171450" indent="-171450" algn="l" rtl="0" eaLnBrk="0" fontAlgn="base" hangingPunct="0">
        <a:spcBef>
          <a:spcPct val="20000"/>
        </a:spcBef>
        <a:spcAft>
          <a:spcPct val="0"/>
        </a:spcAft>
        <a:buClr>
          <a:srgbClr val="00649D"/>
        </a:buClr>
        <a:buFont typeface="Wingdings" panose="05000000000000000000" pitchFamily="2" charset="2"/>
        <a:buChar char="§"/>
        <a:defRPr>
          <a:solidFill>
            <a:schemeClr val="tx1"/>
          </a:solidFill>
          <a:latin typeface="Arial" panose="020B0604020202020204" pitchFamily="34" charset="0"/>
          <a:ea typeface="Calibri" pitchFamily="34" charset="0"/>
          <a:cs typeface="Calibri" panose="020F0502020204030204" pitchFamily="34" charset="0"/>
        </a:defRPr>
      </a:lvl1pPr>
      <a:lvl2pPr marL="428625" indent="-171450" algn="l" rtl="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itchFamily="34" charset="0"/>
          <a:cs typeface="Calibri" panose="020F0502020204030204" pitchFamily="34" charset="0"/>
        </a:defRPr>
      </a:lvl2pPr>
      <a:lvl3pPr marL="771525" indent="-171450" algn="l" rtl="0" eaLnBrk="0" fontAlgn="base" hangingPunct="0">
        <a:spcBef>
          <a:spcPct val="20000"/>
        </a:spcBef>
        <a:spcAft>
          <a:spcPct val="0"/>
        </a:spcAft>
        <a:buClr>
          <a:srgbClr val="00649D"/>
        </a:buClr>
        <a:buChar char="•"/>
        <a:defRPr>
          <a:solidFill>
            <a:schemeClr val="tx1"/>
          </a:solidFill>
          <a:latin typeface="Arial" panose="020B0604020202020204" pitchFamily="34" charset="0"/>
          <a:ea typeface="Calibri" pitchFamily="34" charset="0"/>
          <a:cs typeface="Calibri" panose="020F0502020204030204" pitchFamily="34" charset="0"/>
        </a:defRPr>
      </a:lvl3pPr>
      <a:lvl4pPr marL="1076325" indent="-133350" algn="l" rtl="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itchFamily="34" charset="0"/>
          <a:cs typeface="Calibri" panose="020F0502020204030204" pitchFamily="34" charset="0"/>
        </a:defRPr>
      </a:lvl4pPr>
      <a:lvl5pPr marL="1371600" indent="-171450" algn="l" rtl="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itchFamily="34" charset="0"/>
          <a:cs typeface="Calibri" panose="020F0502020204030204" pitchFamily="34" charset="0"/>
        </a:defRPr>
      </a:lvl5pPr>
      <a:lvl6pPr marL="1714500" indent="-171450" algn="l" rtl="0" eaLnBrk="1" fontAlgn="base" hangingPunct="1">
        <a:spcBef>
          <a:spcPct val="20000"/>
        </a:spcBef>
        <a:spcAft>
          <a:spcPct val="0"/>
        </a:spcAft>
        <a:buClr>
          <a:srgbClr val="00649D"/>
        </a:buClr>
        <a:buFont typeface="Arial" pitchFamily="34" charset="0"/>
        <a:buChar char="•"/>
        <a:defRPr sz="1050">
          <a:solidFill>
            <a:schemeClr val="tx1"/>
          </a:solidFill>
          <a:latin typeface="+mn-lt"/>
          <a:cs typeface="+mn-cs"/>
        </a:defRPr>
      </a:lvl6pPr>
      <a:lvl7pPr marL="2057400" indent="-171450" algn="l" rtl="0" eaLnBrk="1" fontAlgn="base" hangingPunct="1">
        <a:spcBef>
          <a:spcPct val="20000"/>
        </a:spcBef>
        <a:spcAft>
          <a:spcPct val="0"/>
        </a:spcAft>
        <a:buClr>
          <a:srgbClr val="00649D"/>
        </a:buClr>
        <a:buFont typeface="Arial" pitchFamily="34" charset="0"/>
        <a:buChar char="•"/>
        <a:defRPr sz="1050">
          <a:solidFill>
            <a:schemeClr val="tx1"/>
          </a:solidFill>
          <a:latin typeface="+mn-lt"/>
          <a:cs typeface="+mn-cs"/>
        </a:defRPr>
      </a:lvl7pPr>
      <a:lvl8pPr marL="2400300" indent="-171450" algn="l" rtl="0" eaLnBrk="1" fontAlgn="base" hangingPunct="1">
        <a:spcBef>
          <a:spcPct val="20000"/>
        </a:spcBef>
        <a:spcAft>
          <a:spcPct val="0"/>
        </a:spcAft>
        <a:buClr>
          <a:srgbClr val="00649D"/>
        </a:buClr>
        <a:buFont typeface="Arial" pitchFamily="34" charset="0"/>
        <a:buChar char="•"/>
        <a:defRPr sz="1050">
          <a:solidFill>
            <a:schemeClr val="tx1"/>
          </a:solidFill>
          <a:latin typeface="+mn-lt"/>
          <a:cs typeface="+mn-cs"/>
        </a:defRPr>
      </a:lvl8pPr>
      <a:lvl9pPr marL="2743200" indent="-171450" algn="l" rtl="0" eaLnBrk="1" fontAlgn="base" hangingPunct="1">
        <a:spcBef>
          <a:spcPct val="20000"/>
        </a:spcBef>
        <a:spcAft>
          <a:spcPct val="0"/>
        </a:spcAft>
        <a:buClr>
          <a:srgbClr val="00649D"/>
        </a:buClr>
        <a:buFont typeface="Arial" pitchFamily="34" charset="0"/>
        <a:buChar char="•"/>
        <a:defRPr sz="1050">
          <a:solidFill>
            <a:schemeClr val="tx1"/>
          </a:solidFill>
          <a:latin typeface="+mn-lt"/>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0E502960-A52D-4216-BA4B-EFC345206F76}" type="datetimeFigureOut">
              <a:rPr lang="en-US" smtClean="0">
                <a:solidFill>
                  <a:prstClr val="black">
                    <a:tint val="75000"/>
                  </a:prstClr>
                </a:solidFill>
              </a:rPr>
              <a:pPr/>
              <a:t>2/8/2017</a:t>
            </a:fld>
            <a:endParaRPr lang="en-US" smtClean="0">
              <a:solidFill>
                <a:prstClr val="black">
                  <a:tint val="75000"/>
                </a:prstClr>
              </a:solidFill>
            </a:endParaRPr>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smtClean="0">
              <a:solidFill>
                <a:prstClr val="black">
                  <a:tint val="75000"/>
                </a:prstClr>
              </a:solidFill>
            </a:endParaRPr>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D94D1DDC-8589-4CA9-97F2-3C91252C255C}" type="slidenum">
              <a:rPr lang="en-US" smtClean="0">
                <a:solidFill>
                  <a:prstClr val="black">
                    <a:tint val="75000"/>
                  </a:prstClr>
                </a:solidFill>
              </a:rPr>
              <a:pPr/>
              <a:t>‹#›</a:t>
            </a:fld>
            <a:endParaRPr lang="en-US" smtClean="0">
              <a:solidFill>
                <a:prstClr val="black">
                  <a:tint val="75000"/>
                </a:prstClr>
              </a:solidFill>
            </a:endParaRPr>
          </a:p>
        </p:txBody>
      </p:sp>
    </p:spTree>
    <p:extLst>
      <p:ext uri="{BB962C8B-B14F-4D97-AF65-F5344CB8AC3E}">
        <p14:creationId xmlns:p14="http://schemas.microsoft.com/office/powerpoint/2010/main" val="365198685"/>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3" Type="http://schemas.openxmlformats.org/officeDocument/2006/relationships/image" Target="../media/image71.tiff"/><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74.tiff"/><Relationship Id="rId5" Type="http://schemas.openxmlformats.org/officeDocument/2006/relationships/image" Target="../media/image73.tiff"/><Relationship Id="rId4" Type="http://schemas.openxmlformats.org/officeDocument/2006/relationships/image" Target="../media/image72.tif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tiff"/><Relationship Id="rId7" Type="http://schemas.openxmlformats.org/officeDocument/2006/relationships/image" Target="../media/image79.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tiff"/></Relationships>
</file>

<file path=ppt/slides/_rels/slide13.xml.rels><?xml version="1.0" encoding="UTF-8" standalone="yes"?>
<Relationships xmlns="http://schemas.openxmlformats.org/package/2006/relationships"><Relationship Id="rId8" Type="http://schemas.openxmlformats.org/officeDocument/2006/relationships/image" Target="../media/image83.jpeg"/><Relationship Id="rId13" Type="http://schemas.openxmlformats.org/officeDocument/2006/relationships/image" Target="../media/image88.png"/><Relationship Id="rId18" Type="http://schemas.openxmlformats.org/officeDocument/2006/relationships/image" Target="../media/image93.png"/><Relationship Id="rId3" Type="http://schemas.openxmlformats.org/officeDocument/2006/relationships/slideLayout" Target="../slideLayouts/slideLayout23.xml"/><Relationship Id="rId7" Type="http://schemas.openxmlformats.org/officeDocument/2006/relationships/image" Target="../media/image82.png"/><Relationship Id="rId12" Type="http://schemas.openxmlformats.org/officeDocument/2006/relationships/image" Target="../media/image87.png"/><Relationship Id="rId17" Type="http://schemas.openxmlformats.org/officeDocument/2006/relationships/image" Target="../media/image92.png"/><Relationship Id="rId2" Type="http://schemas.openxmlformats.org/officeDocument/2006/relationships/tags" Target="../tags/tag12.xml"/><Relationship Id="rId16" Type="http://schemas.openxmlformats.org/officeDocument/2006/relationships/image" Target="../media/image91.jpeg"/><Relationship Id="rId1" Type="http://schemas.openxmlformats.org/officeDocument/2006/relationships/vmlDrawing" Target="../drawings/vmlDrawing10.vml"/><Relationship Id="rId6" Type="http://schemas.openxmlformats.org/officeDocument/2006/relationships/image" Target="../media/image81.emf"/><Relationship Id="rId11" Type="http://schemas.openxmlformats.org/officeDocument/2006/relationships/image" Target="../media/image86.png"/><Relationship Id="rId5" Type="http://schemas.openxmlformats.org/officeDocument/2006/relationships/oleObject" Target="../embeddings/oleObject11.bin"/><Relationship Id="rId15" Type="http://schemas.openxmlformats.org/officeDocument/2006/relationships/image" Target="../media/image90.png"/><Relationship Id="rId10" Type="http://schemas.openxmlformats.org/officeDocument/2006/relationships/image" Target="../media/image85.png"/><Relationship Id="rId4" Type="http://schemas.openxmlformats.org/officeDocument/2006/relationships/notesSlide" Target="../notesSlides/notesSlide11.xml"/><Relationship Id="rId9" Type="http://schemas.openxmlformats.org/officeDocument/2006/relationships/image" Target="../media/image84.png"/><Relationship Id="rId14" Type="http://schemas.openxmlformats.org/officeDocument/2006/relationships/image" Target="../media/image89.png"/></Relationships>
</file>

<file path=ppt/slides/_rels/slide14.xml.rels><?xml version="1.0" encoding="UTF-8" standalone="yes"?>
<Relationships xmlns="http://schemas.openxmlformats.org/package/2006/relationships"><Relationship Id="rId8" Type="http://schemas.openxmlformats.org/officeDocument/2006/relationships/image" Target="../media/image100.jpeg"/><Relationship Id="rId13" Type="http://schemas.openxmlformats.org/officeDocument/2006/relationships/image" Target="../media/image105.png"/><Relationship Id="rId3" Type="http://schemas.openxmlformats.org/officeDocument/2006/relationships/image" Target="../media/image95.png"/><Relationship Id="rId7" Type="http://schemas.openxmlformats.org/officeDocument/2006/relationships/image" Target="../media/image99.png"/><Relationship Id="rId12" Type="http://schemas.openxmlformats.org/officeDocument/2006/relationships/image" Target="../media/image104.png"/><Relationship Id="rId2" Type="http://schemas.openxmlformats.org/officeDocument/2006/relationships/image" Target="../media/image94.png"/><Relationship Id="rId1" Type="http://schemas.openxmlformats.org/officeDocument/2006/relationships/slideLayout" Target="../slideLayouts/slideLayout27.xml"/><Relationship Id="rId6" Type="http://schemas.openxmlformats.org/officeDocument/2006/relationships/image" Target="../media/image98.png"/><Relationship Id="rId11" Type="http://schemas.openxmlformats.org/officeDocument/2006/relationships/image" Target="../media/image103.jpeg"/><Relationship Id="rId5" Type="http://schemas.openxmlformats.org/officeDocument/2006/relationships/image" Target="../media/image97.png"/><Relationship Id="rId10" Type="http://schemas.openxmlformats.org/officeDocument/2006/relationships/image" Target="../media/image102.png"/><Relationship Id="rId4" Type="http://schemas.openxmlformats.org/officeDocument/2006/relationships/image" Target="../media/image96.png"/><Relationship Id="rId9" Type="http://schemas.openxmlformats.org/officeDocument/2006/relationships/image" Target="../media/image101.png"/></Relationships>
</file>

<file path=ppt/slides/_rels/slide15.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2.png"/><Relationship Id="rId3" Type="http://schemas.openxmlformats.org/officeDocument/2006/relationships/slideLayout" Target="../slideLayouts/slideLayout32.xml"/><Relationship Id="rId7" Type="http://schemas.openxmlformats.org/officeDocument/2006/relationships/image" Target="../media/image106.png"/><Relationship Id="rId12" Type="http://schemas.openxmlformats.org/officeDocument/2006/relationships/image" Target="../media/image111.png"/><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81.emf"/><Relationship Id="rId11" Type="http://schemas.openxmlformats.org/officeDocument/2006/relationships/image" Target="../media/image110.png"/><Relationship Id="rId5" Type="http://schemas.openxmlformats.org/officeDocument/2006/relationships/oleObject" Target="../embeddings/oleObject12.bin"/><Relationship Id="rId10" Type="http://schemas.openxmlformats.org/officeDocument/2006/relationships/image" Target="../media/image109.png"/><Relationship Id="rId4" Type="http://schemas.openxmlformats.org/officeDocument/2006/relationships/notesSlide" Target="../notesSlides/notesSlide12.xml"/><Relationship Id="rId9" Type="http://schemas.openxmlformats.org/officeDocument/2006/relationships/image" Target="../media/image108.png"/></Relationships>
</file>

<file path=ppt/slides/_rels/slide16.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3" Type="http://schemas.openxmlformats.org/officeDocument/2006/relationships/tags" Target="../tags/tag15.xml"/><Relationship Id="rId7" Type="http://schemas.openxmlformats.org/officeDocument/2006/relationships/image" Target="../media/image81.emf"/><Relationship Id="rId12" Type="http://schemas.openxmlformats.org/officeDocument/2006/relationships/image" Target="../media/image117.png"/><Relationship Id="rId17" Type="http://schemas.openxmlformats.org/officeDocument/2006/relationships/image" Target="../media/image122.png"/><Relationship Id="rId2" Type="http://schemas.openxmlformats.org/officeDocument/2006/relationships/tags" Target="../tags/tag14.xml"/><Relationship Id="rId16" Type="http://schemas.openxmlformats.org/officeDocument/2006/relationships/image" Target="../media/image121.png"/><Relationship Id="rId1" Type="http://schemas.openxmlformats.org/officeDocument/2006/relationships/vmlDrawing" Target="../drawings/vmlDrawing12.vml"/><Relationship Id="rId6" Type="http://schemas.openxmlformats.org/officeDocument/2006/relationships/oleObject" Target="../embeddings/oleObject13.bin"/><Relationship Id="rId11" Type="http://schemas.openxmlformats.org/officeDocument/2006/relationships/image" Target="../media/image116.png"/><Relationship Id="rId5" Type="http://schemas.openxmlformats.org/officeDocument/2006/relationships/notesSlide" Target="../notesSlides/notesSlide13.xml"/><Relationship Id="rId15" Type="http://schemas.openxmlformats.org/officeDocument/2006/relationships/image" Target="../media/image120.png"/><Relationship Id="rId10" Type="http://schemas.openxmlformats.org/officeDocument/2006/relationships/image" Target="../media/image115.png"/><Relationship Id="rId4" Type="http://schemas.openxmlformats.org/officeDocument/2006/relationships/slideLayout" Target="../slideLayouts/slideLayout25.xml"/><Relationship Id="rId9" Type="http://schemas.openxmlformats.org/officeDocument/2006/relationships/image" Target="../media/image114.png"/><Relationship Id="rId14" Type="http://schemas.openxmlformats.org/officeDocument/2006/relationships/image" Target="../media/image119.png"/></Relationships>
</file>

<file path=ppt/slides/_rels/slide1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4.xml"/><Relationship Id="rId1" Type="http://schemas.openxmlformats.org/officeDocument/2006/relationships/slideLayout" Target="../slideLayouts/slideLayout36.xml"/><Relationship Id="rId5" Type="http://schemas.openxmlformats.org/officeDocument/2006/relationships/image" Target="../media/image125.png"/><Relationship Id="rId4" Type="http://schemas.openxmlformats.org/officeDocument/2006/relationships/image" Target="../media/image124.jpeg"/></Relationships>
</file>

<file path=ppt/slides/_rels/slide1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5.xml"/><Relationship Id="rId1" Type="http://schemas.openxmlformats.org/officeDocument/2006/relationships/slideLayout" Target="../slideLayouts/slideLayout36.xml"/><Relationship Id="rId5" Type="http://schemas.openxmlformats.org/officeDocument/2006/relationships/image" Target="../media/image124.jpeg"/><Relationship Id="rId4" Type="http://schemas.openxmlformats.org/officeDocument/2006/relationships/image" Target="../media/image127.jpeg"/></Relationships>
</file>

<file path=ppt/slides/_rels/slide19.xml.rels><?xml version="1.0" encoding="UTF-8" standalone="yes"?>
<Relationships xmlns="http://schemas.openxmlformats.org/package/2006/relationships"><Relationship Id="rId8" Type="http://schemas.openxmlformats.org/officeDocument/2006/relationships/image" Target="../media/image129.png"/><Relationship Id="rId13" Type="http://schemas.openxmlformats.org/officeDocument/2006/relationships/image" Target="../media/image134.png"/><Relationship Id="rId18" Type="http://schemas.openxmlformats.org/officeDocument/2006/relationships/image" Target="../media/image139.png"/><Relationship Id="rId26" Type="http://schemas.openxmlformats.org/officeDocument/2006/relationships/image" Target="../media/image147.png"/><Relationship Id="rId3" Type="http://schemas.openxmlformats.org/officeDocument/2006/relationships/slideLayout" Target="../slideLayouts/slideLayout23.xml"/><Relationship Id="rId21" Type="http://schemas.openxmlformats.org/officeDocument/2006/relationships/image" Target="../media/image142.png"/><Relationship Id="rId7" Type="http://schemas.openxmlformats.org/officeDocument/2006/relationships/image" Target="../media/image81.emf"/><Relationship Id="rId12" Type="http://schemas.openxmlformats.org/officeDocument/2006/relationships/image" Target="../media/image133.png"/><Relationship Id="rId17" Type="http://schemas.openxmlformats.org/officeDocument/2006/relationships/image" Target="../media/image138.png"/><Relationship Id="rId25" Type="http://schemas.openxmlformats.org/officeDocument/2006/relationships/image" Target="../media/image146.png"/><Relationship Id="rId2" Type="http://schemas.openxmlformats.org/officeDocument/2006/relationships/tags" Target="../tags/tag16.xml"/><Relationship Id="rId16" Type="http://schemas.openxmlformats.org/officeDocument/2006/relationships/image" Target="../media/image137.png"/><Relationship Id="rId20" Type="http://schemas.openxmlformats.org/officeDocument/2006/relationships/image" Target="../media/image141.png"/><Relationship Id="rId29" Type="http://schemas.openxmlformats.org/officeDocument/2006/relationships/image" Target="../media/image150.png"/><Relationship Id="rId1" Type="http://schemas.openxmlformats.org/officeDocument/2006/relationships/vmlDrawing" Target="../drawings/vmlDrawing13.vml"/><Relationship Id="rId6" Type="http://schemas.openxmlformats.org/officeDocument/2006/relationships/oleObject" Target="../embeddings/oleObject14.bin"/><Relationship Id="rId11" Type="http://schemas.openxmlformats.org/officeDocument/2006/relationships/image" Target="../media/image132.png"/><Relationship Id="rId24" Type="http://schemas.openxmlformats.org/officeDocument/2006/relationships/image" Target="../media/image145.png"/><Relationship Id="rId5" Type="http://schemas.openxmlformats.org/officeDocument/2006/relationships/image" Target="../media/image128.jpeg"/><Relationship Id="rId15" Type="http://schemas.openxmlformats.org/officeDocument/2006/relationships/image" Target="../media/image136.png"/><Relationship Id="rId23" Type="http://schemas.openxmlformats.org/officeDocument/2006/relationships/image" Target="../media/image144.jpeg"/><Relationship Id="rId28" Type="http://schemas.openxmlformats.org/officeDocument/2006/relationships/image" Target="../media/image149.png"/><Relationship Id="rId10" Type="http://schemas.openxmlformats.org/officeDocument/2006/relationships/image" Target="../media/image131.emf"/><Relationship Id="rId19" Type="http://schemas.openxmlformats.org/officeDocument/2006/relationships/image" Target="../media/image140.png"/><Relationship Id="rId31" Type="http://schemas.openxmlformats.org/officeDocument/2006/relationships/image" Target="../media/image152.png"/><Relationship Id="rId4" Type="http://schemas.openxmlformats.org/officeDocument/2006/relationships/notesSlide" Target="../notesSlides/notesSlide16.xml"/><Relationship Id="rId9" Type="http://schemas.openxmlformats.org/officeDocument/2006/relationships/image" Target="../media/image130.emf"/><Relationship Id="rId14" Type="http://schemas.openxmlformats.org/officeDocument/2006/relationships/image" Target="../media/image135.png"/><Relationship Id="rId22" Type="http://schemas.openxmlformats.org/officeDocument/2006/relationships/image" Target="../media/image143.jpeg"/><Relationship Id="rId27" Type="http://schemas.openxmlformats.org/officeDocument/2006/relationships/image" Target="../media/image148.png"/><Relationship Id="rId30" Type="http://schemas.openxmlformats.org/officeDocument/2006/relationships/image" Target="../media/image151.png"/></Relationships>
</file>

<file path=ppt/slides/_rels/slide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8" Type="http://schemas.openxmlformats.org/officeDocument/2006/relationships/image" Target="../media/image156.jpeg"/><Relationship Id="rId3" Type="http://schemas.openxmlformats.org/officeDocument/2006/relationships/image" Target="../media/image153.jpeg"/><Relationship Id="rId7" Type="http://schemas.openxmlformats.org/officeDocument/2006/relationships/image" Target="../media/image155.jpe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6.emf"/><Relationship Id="rId5" Type="http://schemas.openxmlformats.org/officeDocument/2006/relationships/image" Target="../media/image154.jpeg"/><Relationship Id="rId4" Type="http://schemas.microsoft.com/office/2007/relationships/hdphoto" Target="../media/hdphoto5.wdp"/><Relationship Id="rId9" Type="http://schemas.openxmlformats.org/officeDocument/2006/relationships/image" Target="../media/image157.jpeg"/></Relationships>
</file>

<file path=ppt/slides/_rels/slide21.xml.rels><?xml version="1.0" encoding="UTF-8" standalone="yes"?>
<Relationships xmlns="http://schemas.openxmlformats.org/package/2006/relationships"><Relationship Id="rId3" Type="http://schemas.openxmlformats.org/officeDocument/2006/relationships/hyperlink" Target="https://docs.google.com/document/d/1ft6XnmgM4PdZk5q0ap8p9d9cRu6rIB6peAnt7YUinEM/edit" TargetMode="External"/><Relationship Id="rId2" Type="http://schemas.openxmlformats.org/officeDocument/2006/relationships/hyperlink" Target="https://docs.google.com/document/d/15Ru_3wdMgpbM4aOCm-4qNAnRfjx2w-Ruw3lnr8Hnodk/edit" TargetMode="External"/><Relationship Id="rId1" Type="http://schemas.openxmlformats.org/officeDocument/2006/relationships/slideLayout" Target="../slideLayouts/slideLayout54.xml"/></Relationships>
</file>

<file path=ppt/slides/_rels/slide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23.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image" Target="../media/image32.emf"/><Relationship Id="rId7" Type="http://schemas.openxmlformats.org/officeDocument/2006/relationships/image" Target="../media/image36.emf"/><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35.emf"/><Relationship Id="rId5" Type="http://schemas.openxmlformats.org/officeDocument/2006/relationships/image" Target="../media/image34.emf"/><Relationship Id="rId4" Type="http://schemas.openxmlformats.org/officeDocument/2006/relationships/image" Target="../media/image33.emf"/><Relationship Id="rId9" Type="http://schemas.openxmlformats.org/officeDocument/2006/relationships/image" Target="../media/image38.png"/></Relationships>
</file>

<file path=ppt/slides/_rels/slide5.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3" Type="http://schemas.openxmlformats.org/officeDocument/2006/relationships/image" Target="../media/image40.png"/><Relationship Id="rId7" Type="http://schemas.openxmlformats.org/officeDocument/2006/relationships/image" Target="../media/image44.jpeg"/><Relationship Id="rId12" Type="http://schemas.openxmlformats.org/officeDocument/2006/relationships/image" Target="../media/image49.png"/><Relationship Id="rId2" Type="http://schemas.openxmlformats.org/officeDocument/2006/relationships/image" Target="../media/image39.jpeg"/><Relationship Id="rId1" Type="http://schemas.openxmlformats.org/officeDocument/2006/relationships/slideLayout" Target="../slideLayouts/slideLayout23.xml"/><Relationship Id="rId6" Type="http://schemas.openxmlformats.org/officeDocument/2006/relationships/image" Target="../media/image43.jpe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jpeg"/><Relationship Id="rId14" Type="http://schemas.openxmlformats.org/officeDocument/2006/relationships/image" Target="../media/image51.png"/></Relationships>
</file>

<file path=ppt/slides/_rels/slide6.xml.rels><?xml version="1.0" encoding="UTF-8" standalone="yes"?>
<Relationships xmlns="http://schemas.openxmlformats.org/package/2006/relationships"><Relationship Id="rId8" Type="http://schemas.openxmlformats.org/officeDocument/2006/relationships/image" Target="../media/image57.emf"/><Relationship Id="rId3" Type="http://schemas.openxmlformats.org/officeDocument/2006/relationships/image" Target="../media/image52.wmf"/><Relationship Id="rId7" Type="http://schemas.openxmlformats.org/officeDocument/2006/relationships/image" Target="../media/image56.emf"/><Relationship Id="rId2" Type="http://schemas.openxmlformats.org/officeDocument/2006/relationships/notesSlide" Target="../notesSlides/notesSlide4.xml"/><Relationship Id="rId1" Type="http://schemas.openxmlformats.org/officeDocument/2006/relationships/slideLayout" Target="../slideLayouts/slideLayout20.xml"/><Relationship Id="rId6" Type="http://schemas.openxmlformats.org/officeDocument/2006/relationships/image" Target="../media/image55.emf"/><Relationship Id="rId5" Type="http://schemas.openxmlformats.org/officeDocument/2006/relationships/image" Target="../media/image54.emf"/><Relationship Id="rId4" Type="http://schemas.openxmlformats.org/officeDocument/2006/relationships/image" Target="../media/image53.png"/><Relationship Id="rId9" Type="http://schemas.openxmlformats.org/officeDocument/2006/relationships/image" Target="../media/image58.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2.emf"/></Relationships>
</file>

<file path=ppt/slides/_rels/slide9.xml.rels><?xml version="1.0" encoding="UTF-8" standalone="yes"?>
<Relationships xmlns="http://schemas.openxmlformats.org/package/2006/relationships"><Relationship Id="rId8" Type="http://schemas.openxmlformats.org/officeDocument/2006/relationships/image" Target="../media/image63.jpeg"/><Relationship Id="rId13" Type="http://schemas.openxmlformats.org/officeDocument/2006/relationships/image" Target="../media/image68.jpeg"/><Relationship Id="rId3" Type="http://schemas.openxmlformats.org/officeDocument/2006/relationships/chart" Target="../charts/chart1.xml"/><Relationship Id="rId7" Type="http://schemas.openxmlformats.org/officeDocument/2006/relationships/image" Target="../media/image62.jpeg"/><Relationship Id="rId12" Type="http://schemas.openxmlformats.org/officeDocument/2006/relationships/image" Target="../media/image67.jpe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61.jpeg"/><Relationship Id="rId11" Type="http://schemas.openxmlformats.org/officeDocument/2006/relationships/image" Target="../media/image66.jpeg"/><Relationship Id="rId5" Type="http://schemas.openxmlformats.org/officeDocument/2006/relationships/image" Target="../media/image60.jpeg"/><Relationship Id="rId15" Type="http://schemas.openxmlformats.org/officeDocument/2006/relationships/image" Target="../media/image70.jpeg"/><Relationship Id="rId10" Type="http://schemas.openxmlformats.org/officeDocument/2006/relationships/image" Target="../media/image65.jpeg"/><Relationship Id="rId4" Type="http://schemas.openxmlformats.org/officeDocument/2006/relationships/image" Target="../media/image59.jpeg"/><Relationship Id="rId9" Type="http://schemas.openxmlformats.org/officeDocument/2006/relationships/image" Target="../media/image64.jpeg"/><Relationship Id="rId14" Type="http://schemas.openxmlformats.org/officeDocument/2006/relationships/image" Target="../media/image6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3"/>
          <p:cNvSpPr>
            <a:spLocks noGrp="1"/>
          </p:cNvSpPr>
          <p:nvPr>
            <p:ph type="ctrTitle"/>
          </p:nvPr>
        </p:nvSpPr>
        <p:spPr>
          <a:xfrm>
            <a:off x="2062162" y="4354117"/>
            <a:ext cx="6919913" cy="344090"/>
          </a:xfrm>
          <a:solidFill>
            <a:srgbClr val="FFFFFF">
              <a:alpha val="1176"/>
            </a:srgbClr>
          </a:solidFill>
        </p:spPr>
        <p:txBody>
          <a:bodyPr/>
          <a:lstStyle/>
          <a:p>
            <a:pPr eaLnBrk="1" hangingPunct="1">
              <a:defRPr/>
            </a:pPr>
            <a:r>
              <a:rPr lang="en-US" altLang="en-US" dirty="0">
                <a:solidFill>
                  <a:schemeClr val="tx1">
                    <a:lumMod val="85000"/>
                    <a:lumOff val="15000"/>
                  </a:schemeClr>
                </a:solidFill>
              </a:rPr>
              <a:t>November 2016</a:t>
            </a:r>
          </a:p>
        </p:txBody>
      </p:sp>
      <p:sp>
        <p:nvSpPr>
          <p:cNvPr id="9219" name="Subtitle 4"/>
          <p:cNvSpPr>
            <a:spLocks noGrp="1"/>
          </p:cNvSpPr>
          <p:nvPr>
            <p:ph type="subTitle" idx="1"/>
          </p:nvPr>
        </p:nvSpPr>
        <p:spPr>
          <a:xfrm>
            <a:off x="2035969" y="4127897"/>
            <a:ext cx="6919913" cy="252413"/>
          </a:xfrm>
          <a:solidFill>
            <a:srgbClr val="000000">
              <a:alpha val="1176"/>
            </a:srgbClr>
          </a:solidFill>
        </p:spPr>
        <p:txBody>
          <a:bodyPr/>
          <a:lstStyle/>
          <a:p>
            <a:pPr eaLnBrk="1" hangingPunct="1">
              <a:defRPr/>
            </a:pPr>
            <a:r>
              <a:rPr lang="en-US" altLang="en-US" dirty="0">
                <a:solidFill>
                  <a:schemeClr val="tx1">
                    <a:lumMod val="85000"/>
                    <a:lumOff val="15000"/>
                  </a:schemeClr>
                </a:solidFill>
              </a:rPr>
              <a:t>The Cognitive Business of Agriculture</a:t>
            </a:r>
          </a:p>
        </p:txBody>
      </p:sp>
    </p:spTree>
    <p:extLst>
      <p:ext uri="{BB962C8B-B14F-4D97-AF65-F5344CB8AC3E}">
        <p14:creationId xmlns:p14="http://schemas.microsoft.com/office/powerpoint/2010/main" val="174200090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96430" y="691575"/>
            <a:ext cx="3794570" cy="584775"/>
          </a:xfrm>
          <a:prstGeom prst="rect">
            <a:avLst/>
          </a:prstGeom>
        </p:spPr>
        <p:txBody>
          <a:bodyPr wrap="square">
            <a:spAutoFit/>
          </a:bodyPr>
          <a:lstStyle/>
          <a:p>
            <a:r>
              <a:rPr lang="en-US" sz="3200" b="1" dirty="0">
                <a:solidFill>
                  <a:schemeClr val="tx2"/>
                </a:solidFill>
                <a:latin typeface="Arial"/>
                <a:ea typeface="Arial"/>
                <a:cs typeface="Arial"/>
                <a:sym typeface="Arial"/>
                <a:rtl val="0"/>
              </a:rPr>
              <a:t>The SUN Platform</a:t>
            </a:r>
          </a:p>
        </p:txBody>
      </p:sp>
      <p:sp>
        <p:nvSpPr>
          <p:cNvPr id="3" name="Rectangle 2"/>
          <p:cNvSpPr/>
          <p:nvPr/>
        </p:nvSpPr>
        <p:spPr>
          <a:xfrm>
            <a:off x="5703776" y="182054"/>
            <a:ext cx="3440224" cy="1054283"/>
          </a:xfrm>
          <a:prstGeom prst="rect">
            <a:avLst/>
          </a:prstGeom>
          <a:solidFill>
            <a:srgbClr val="002060">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p:cNvSpPr txBox="1"/>
          <p:nvPr/>
        </p:nvSpPr>
        <p:spPr>
          <a:xfrm>
            <a:off x="5828429" y="247429"/>
            <a:ext cx="707245" cy="461665"/>
          </a:xfrm>
          <a:prstGeom prst="rect">
            <a:avLst/>
          </a:prstGeom>
          <a:noFill/>
        </p:spPr>
        <p:txBody>
          <a:bodyPr wrap="none" rtlCol="0">
            <a:spAutoFit/>
          </a:bodyPr>
          <a:lstStyle/>
          <a:p>
            <a:r>
              <a:rPr lang="en-US" sz="2400" b="1" dirty="0">
                <a:solidFill>
                  <a:srgbClr val="FFC000"/>
                </a:solidFill>
                <a:latin typeface="Arial" charset="0"/>
                <a:ea typeface="Arial" charset="0"/>
                <a:cs typeface="Arial" charset="0"/>
              </a:rPr>
              <a:t>24+</a:t>
            </a:r>
          </a:p>
        </p:txBody>
      </p:sp>
      <p:sp>
        <p:nvSpPr>
          <p:cNvPr id="5" name="TextBox 4"/>
          <p:cNvSpPr txBox="1"/>
          <p:nvPr/>
        </p:nvSpPr>
        <p:spPr>
          <a:xfrm>
            <a:off x="5793748" y="789434"/>
            <a:ext cx="1159292" cy="307777"/>
          </a:xfrm>
          <a:prstGeom prst="rect">
            <a:avLst/>
          </a:prstGeom>
          <a:noFill/>
        </p:spPr>
        <p:txBody>
          <a:bodyPr wrap="none" rtlCol="0">
            <a:spAutoFit/>
          </a:bodyPr>
          <a:lstStyle/>
          <a:p>
            <a:r>
              <a:rPr lang="en-US" sz="1400" dirty="0">
                <a:solidFill>
                  <a:srgbClr val="FFC000"/>
                </a:solidFill>
                <a:latin typeface="Arial" charset="0"/>
                <a:ea typeface="Arial" charset="0"/>
                <a:cs typeface="Arial" charset="0"/>
              </a:rPr>
              <a:t>compressed</a:t>
            </a:r>
          </a:p>
        </p:txBody>
      </p:sp>
      <p:sp>
        <p:nvSpPr>
          <p:cNvPr id="6" name="TextBox 5"/>
          <p:cNvSpPr txBox="1"/>
          <p:nvPr/>
        </p:nvSpPr>
        <p:spPr>
          <a:xfrm>
            <a:off x="7288068" y="478806"/>
            <a:ext cx="1689241" cy="523220"/>
          </a:xfrm>
          <a:prstGeom prst="rect">
            <a:avLst/>
          </a:prstGeom>
          <a:noFill/>
        </p:spPr>
        <p:txBody>
          <a:bodyPr wrap="square" rtlCol="0">
            <a:spAutoFit/>
          </a:bodyPr>
          <a:lstStyle/>
          <a:p>
            <a:r>
              <a:rPr lang="en-US" sz="1400" dirty="0">
                <a:solidFill>
                  <a:schemeClr val="bg1"/>
                </a:solidFill>
                <a:latin typeface="Arial" charset="0"/>
                <a:ea typeface="Arial" charset="0"/>
                <a:cs typeface="Arial" charset="0"/>
              </a:rPr>
              <a:t>ingested per day </a:t>
            </a:r>
            <a:br>
              <a:rPr lang="en-US" sz="1400" dirty="0">
                <a:solidFill>
                  <a:schemeClr val="bg1"/>
                </a:solidFill>
                <a:latin typeface="Arial" charset="0"/>
                <a:ea typeface="Arial" charset="0"/>
                <a:cs typeface="Arial" charset="0"/>
              </a:rPr>
            </a:br>
            <a:r>
              <a:rPr lang="en-US" sz="1400" dirty="0">
                <a:solidFill>
                  <a:schemeClr val="bg1"/>
                </a:solidFill>
                <a:latin typeface="Arial" charset="0"/>
                <a:ea typeface="Arial" charset="0"/>
                <a:cs typeface="Arial" charset="0"/>
              </a:rPr>
              <a:t>in production</a:t>
            </a:r>
          </a:p>
        </p:txBody>
      </p:sp>
      <p:sp>
        <p:nvSpPr>
          <p:cNvPr id="7" name="Rectangle 6"/>
          <p:cNvSpPr/>
          <p:nvPr/>
        </p:nvSpPr>
        <p:spPr>
          <a:xfrm>
            <a:off x="4602137" y="3873250"/>
            <a:ext cx="981532" cy="1054283"/>
          </a:xfrm>
          <a:prstGeom prst="rect">
            <a:avLst/>
          </a:prstGeom>
          <a:solidFill>
            <a:srgbClr val="FFC000">
              <a:alpha val="9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a:off x="4602137" y="2620147"/>
            <a:ext cx="981532" cy="1054283"/>
          </a:xfrm>
          <a:prstGeom prst="rect">
            <a:avLst/>
          </a:prstGeom>
          <a:solidFill>
            <a:srgbClr val="FFC000">
              <a:alpha val="9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4602137" y="1435157"/>
            <a:ext cx="981532" cy="1054283"/>
          </a:xfrm>
          <a:prstGeom prst="rect">
            <a:avLst/>
          </a:prstGeom>
          <a:solidFill>
            <a:srgbClr val="FFC000">
              <a:alpha val="9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4602137" y="182054"/>
            <a:ext cx="981532" cy="1054283"/>
          </a:xfrm>
          <a:prstGeom prst="rect">
            <a:avLst/>
          </a:prstGeom>
          <a:solidFill>
            <a:srgbClr val="FFC000">
              <a:alpha val="9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81156" y="478806"/>
            <a:ext cx="468902" cy="468902"/>
          </a:xfrm>
          <a:prstGeom prst="rect">
            <a:avLst/>
          </a:prstGeom>
        </p:spPr>
      </p:pic>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77992" y="1795050"/>
            <a:ext cx="532208" cy="532208"/>
          </a:xfrm>
          <a:prstGeom prst="rect">
            <a:avLst/>
          </a:prstGeom>
        </p:spPr>
      </p:pic>
      <p:pic>
        <p:nvPicPr>
          <p:cNvPr id="13" name="Picture 12"/>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829620" y="2914157"/>
            <a:ext cx="548777" cy="520475"/>
          </a:xfrm>
          <a:prstGeom prst="rect">
            <a:avLst/>
          </a:prstGeom>
        </p:spPr>
      </p:pic>
      <p:pic>
        <p:nvPicPr>
          <p:cNvPr id="14" name="Picture 1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18580" y="4156674"/>
            <a:ext cx="555621" cy="569896"/>
          </a:xfrm>
          <a:prstGeom prst="rect">
            <a:avLst/>
          </a:prstGeom>
        </p:spPr>
      </p:pic>
      <p:sp>
        <p:nvSpPr>
          <p:cNvPr id="15" name="Rectangle 14"/>
          <p:cNvSpPr/>
          <p:nvPr/>
        </p:nvSpPr>
        <p:spPr>
          <a:xfrm>
            <a:off x="5703776" y="1468337"/>
            <a:ext cx="3440224" cy="1054283"/>
          </a:xfrm>
          <a:prstGeom prst="rect">
            <a:avLst/>
          </a:prstGeom>
          <a:solidFill>
            <a:srgbClr val="002060">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p:nvSpPr>
        <p:spPr>
          <a:xfrm>
            <a:off x="5703776" y="2701920"/>
            <a:ext cx="3440224" cy="1054283"/>
          </a:xfrm>
          <a:prstGeom prst="rect">
            <a:avLst/>
          </a:prstGeom>
          <a:solidFill>
            <a:srgbClr val="002060">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p:nvSpPr>
        <p:spPr>
          <a:xfrm>
            <a:off x="5703776" y="3969090"/>
            <a:ext cx="3440224" cy="1054283"/>
          </a:xfrm>
          <a:prstGeom prst="rect">
            <a:avLst/>
          </a:prstGeom>
          <a:solidFill>
            <a:srgbClr val="002060">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p:cNvSpPr txBox="1"/>
          <p:nvPr/>
        </p:nvSpPr>
        <p:spPr>
          <a:xfrm>
            <a:off x="5805406" y="1516212"/>
            <a:ext cx="870751" cy="461665"/>
          </a:xfrm>
          <a:prstGeom prst="rect">
            <a:avLst/>
          </a:prstGeom>
          <a:noFill/>
        </p:spPr>
        <p:txBody>
          <a:bodyPr wrap="none" rtlCol="0">
            <a:spAutoFit/>
          </a:bodyPr>
          <a:lstStyle/>
          <a:p>
            <a:r>
              <a:rPr lang="en-US" sz="2400" b="1" dirty="0">
                <a:solidFill>
                  <a:srgbClr val="FFC000"/>
                </a:solidFill>
                <a:latin typeface="Arial" charset="0"/>
                <a:ea typeface="Arial" charset="0"/>
                <a:cs typeface="Arial" charset="0"/>
              </a:rPr>
              <a:t>100s</a:t>
            </a:r>
          </a:p>
        </p:txBody>
      </p:sp>
      <p:sp>
        <p:nvSpPr>
          <p:cNvPr id="19" name="TextBox 18"/>
          <p:cNvSpPr txBox="1"/>
          <p:nvPr/>
        </p:nvSpPr>
        <p:spPr>
          <a:xfrm>
            <a:off x="5859524" y="2049004"/>
            <a:ext cx="1189749" cy="307777"/>
          </a:xfrm>
          <a:prstGeom prst="rect">
            <a:avLst/>
          </a:prstGeom>
          <a:noFill/>
        </p:spPr>
        <p:txBody>
          <a:bodyPr wrap="none" rtlCol="0">
            <a:spAutoFit/>
          </a:bodyPr>
          <a:lstStyle/>
          <a:p>
            <a:r>
              <a:rPr lang="en-US" sz="1400" dirty="0">
                <a:solidFill>
                  <a:srgbClr val="FFC000"/>
                </a:solidFill>
                <a:latin typeface="Arial" charset="0"/>
                <a:ea typeface="Arial" charset="0"/>
                <a:cs typeface="Arial" charset="0"/>
              </a:rPr>
              <a:t>in data lakes</a:t>
            </a:r>
          </a:p>
        </p:txBody>
      </p:sp>
      <p:sp>
        <p:nvSpPr>
          <p:cNvPr id="20" name="TextBox 19"/>
          <p:cNvSpPr txBox="1"/>
          <p:nvPr/>
        </p:nvSpPr>
        <p:spPr>
          <a:xfrm>
            <a:off x="7313453" y="1797050"/>
            <a:ext cx="1654394" cy="523220"/>
          </a:xfrm>
          <a:prstGeom prst="rect">
            <a:avLst/>
          </a:prstGeom>
          <a:noFill/>
        </p:spPr>
        <p:txBody>
          <a:bodyPr wrap="square" rtlCol="0">
            <a:spAutoFit/>
          </a:bodyPr>
          <a:lstStyle/>
          <a:p>
            <a:r>
              <a:rPr lang="en-US" sz="1400" dirty="0">
                <a:solidFill>
                  <a:schemeClr val="bg1"/>
                </a:solidFill>
                <a:latin typeface="Arial" charset="0"/>
                <a:ea typeface="Arial" charset="0"/>
                <a:cs typeface="Arial" charset="0"/>
              </a:rPr>
              <a:t>analyzed and stored</a:t>
            </a:r>
          </a:p>
        </p:txBody>
      </p:sp>
      <p:sp>
        <p:nvSpPr>
          <p:cNvPr id="21" name="TextBox 20"/>
          <p:cNvSpPr txBox="1"/>
          <p:nvPr/>
        </p:nvSpPr>
        <p:spPr>
          <a:xfrm>
            <a:off x="5796863" y="2861127"/>
            <a:ext cx="1550424" cy="461665"/>
          </a:xfrm>
          <a:prstGeom prst="rect">
            <a:avLst/>
          </a:prstGeom>
          <a:noFill/>
        </p:spPr>
        <p:txBody>
          <a:bodyPr wrap="none" rtlCol="0">
            <a:spAutoFit/>
          </a:bodyPr>
          <a:lstStyle/>
          <a:p>
            <a:r>
              <a:rPr lang="en-US" sz="2400" b="1" dirty="0">
                <a:solidFill>
                  <a:srgbClr val="FFC000"/>
                </a:solidFill>
                <a:latin typeface="Arial" charset="0"/>
                <a:ea typeface="Arial" charset="0"/>
                <a:cs typeface="Arial" charset="0"/>
              </a:rPr>
              <a:t>15 Billion</a:t>
            </a:r>
          </a:p>
        </p:txBody>
      </p:sp>
      <p:sp>
        <p:nvSpPr>
          <p:cNvPr id="22" name="TextBox 21"/>
          <p:cNvSpPr txBox="1"/>
          <p:nvPr/>
        </p:nvSpPr>
        <p:spPr>
          <a:xfrm>
            <a:off x="5828429" y="3213318"/>
            <a:ext cx="1210588" cy="307777"/>
          </a:xfrm>
          <a:prstGeom prst="rect">
            <a:avLst/>
          </a:prstGeom>
          <a:noFill/>
        </p:spPr>
        <p:txBody>
          <a:bodyPr wrap="none" rtlCol="0">
            <a:spAutoFit/>
          </a:bodyPr>
          <a:lstStyle/>
          <a:p>
            <a:r>
              <a:rPr lang="en-US" sz="1400" dirty="0">
                <a:solidFill>
                  <a:srgbClr val="FFC000"/>
                </a:solidFill>
                <a:latin typeface="Arial" charset="0"/>
                <a:ea typeface="Arial" charset="0"/>
                <a:cs typeface="Arial" charset="0"/>
              </a:rPr>
              <a:t>API requests</a:t>
            </a:r>
          </a:p>
        </p:txBody>
      </p:sp>
      <p:sp>
        <p:nvSpPr>
          <p:cNvPr id="23" name="TextBox 22"/>
          <p:cNvSpPr txBox="1"/>
          <p:nvPr/>
        </p:nvSpPr>
        <p:spPr>
          <a:xfrm>
            <a:off x="7311892" y="3088964"/>
            <a:ext cx="1689241" cy="307777"/>
          </a:xfrm>
          <a:prstGeom prst="rect">
            <a:avLst/>
          </a:prstGeom>
          <a:noFill/>
        </p:spPr>
        <p:txBody>
          <a:bodyPr wrap="square" rtlCol="0">
            <a:spAutoFit/>
          </a:bodyPr>
          <a:lstStyle/>
          <a:p>
            <a:r>
              <a:rPr lang="en-US" sz="1400" dirty="0">
                <a:solidFill>
                  <a:schemeClr val="bg1"/>
                </a:solidFill>
                <a:latin typeface="Arial" charset="0"/>
                <a:ea typeface="Arial" charset="0"/>
                <a:cs typeface="Arial" charset="0"/>
              </a:rPr>
              <a:t>handled per day</a:t>
            </a:r>
          </a:p>
        </p:txBody>
      </p:sp>
      <p:sp>
        <p:nvSpPr>
          <p:cNvPr id="24" name="TextBox 23"/>
          <p:cNvSpPr txBox="1"/>
          <p:nvPr/>
        </p:nvSpPr>
        <p:spPr>
          <a:xfrm>
            <a:off x="5868287" y="4497832"/>
            <a:ext cx="1010213" cy="307777"/>
          </a:xfrm>
          <a:prstGeom prst="rect">
            <a:avLst/>
          </a:prstGeom>
          <a:noFill/>
        </p:spPr>
        <p:txBody>
          <a:bodyPr wrap="none" rtlCol="0">
            <a:spAutoFit/>
          </a:bodyPr>
          <a:lstStyle/>
          <a:p>
            <a:r>
              <a:rPr lang="en-US" sz="1400" dirty="0">
                <a:solidFill>
                  <a:srgbClr val="FFC000"/>
                </a:solidFill>
                <a:latin typeface="Arial" charset="0"/>
                <a:ea typeface="Arial" charset="0"/>
                <a:cs typeface="Arial" charset="0"/>
              </a:rPr>
              <a:t>data types</a:t>
            </a:r>
          </a:p>
        </p:txBody>
      </p:sp>
      <p:sp>
        <p:nvSpPr>
          <p:cNvPr id="25" name="TextBox 24"/>
          <p:cNvSpPr txBox="1"/>
          <p:nvPr/>
        </p:nvSpPr>
        <p:spPr>
          <a:xfrm>
            <a:off x="7296653" y="4324350"/>
            <a:ext cx="1654394" cy="307777"/>
          </a:xfrm>
          <a:prstGeom prst="rect">
            <a:avLst/>
          </a:prstGeom>
          <a:noFill/>
        </p:spPr>
        <p:txBody>
          <a:bodyPr wrap="square" rtlCol="0">
            <a:spAutoFit/>
          </a:bodyPr>
          <a:lstStyle/>
          <a:p>
            <a:r>
              <a:rPr lang="en-US" sz="1400" dirty="0">
                <a:solidFill>
                  <a:schemeClr val="bg1"/>
                </a:solidFill>
                <a:latin typeface="Arial" charset="0"/>
                <a:ea typeface="Arial" charset="0"/>
                <a:cs typeface="Arial" charset="0"/>
              </a:rPr>
              <a:t>supported today</a:t>
            </a:r>
          </a:p>
        </p:txBody>
      </p:sp>
      <p:sp>
        <p:nvSpPr>
          <p:cNvPr id="26" name="TextBox 25"/>
          <p:cNvSpPr txBox="1"/>
          <p:nvPr/>
        </p:nvSpPr>
        <p:spPr>
          <a:xfrm>
            <a:off x="5885668" y="4141961"/>
            <a:ext cx="878767" cy="461665"/>
          </a:xfrm>
          <a:prstGeom prst="rect">
            <a:avLst/>
          </a:prstGeom>
          <a:noFill/>
        </p:spPr>
        <p:txBody>
          <a:bodyPr wrap="none" rtlCol="0">
            <a:spAutoFit/>
          </a:bodyPr>
          <a:lstStyle/>
          <a:p>
            <a:r>
              <a:rPr lang="en-US" sz="2400" b="1" dirty="0">
                <a:solidFill>
                  <a:srgbClr val="FFC000"/>
                </a:solidFill>
                <a:latin typeface="Arial" charset="0"/>
                <a:ea typeface="Arial" charset="0"/>
                <a:cs typeface="Arial" charset="0"/>
              </a:rPr>
              <a:t>&gt;100</a:t>
            </a:r>
          </a:p>
        </p:txBody>
      </p:sp>
      <p:sp>
        <p:nvSpPr>
          <p:cNvPr id="27" name="TextBox 26"/>
          <p:cNvSpPr txBox="1"/>
          <p:nvPr/>
        </p:nvSpPr>
        <p:spPr>
          <a:xfrm>
            <a:off x="5793748" y="609200"/>
            <a:ext cx="719299" cy="276999"/>
          </a:xfrm>
          <a:prstGeom prst="rect">
            <a:avLst/>
          </a:prstGeom>
          <a:noFill/>
        </p:spPr>
        <p:txBody>
          <a:bodyPr wrap="none" rtlCol="0">
            <a:spAutoFit/>
          </a:bodyPr>
          <a:lstStyle/>
          <a:p>
            <a:r>
              <a:rPr lang="en-US" sz="1200" dirty="0">
                <a:solidFill>
                  <a:srgbClr val="FFC000"/>
                </a:solidFill>
                <a:latin typeface="Helvetica Neue Thin" charset="0"/>
                <a:ea typeface="Helvetica Neue Thin" charset="0"/>
                <a:cs typeface="Helvetica Neue Thin" charset="0"/>
              </a:rPr>
              <a:t>Terabyte</a:t>
            </a:r>
          </a:p>
        </p:txBody>
      </p:sp>
      <p:sp>
        <p:nvSpPr>
          <p:cNvPr id="28" name="TextBox 27"/>
          <p:cNvSpPr txBox="1"/>
          <p:nvPr/>
        </p:nvSpPr>
        <p:spPr>
          <a:xfrm>
            <a:off x="5863755" y="1861454"/>
            <a:ext cx="812402" cy="276999"/>
          </a:xfrm>
          <a:prstGeom prst="rect">
            <a:avLst/>
          </a:prstGeom>
          <a:noFill/>
        </p:spPr>
        <p:txBody>
          <a:bodyPr wrap="none" rtlCol="0">
            <a:spAutoFit/>
          </a:bodyPr>
          <a:lstStyle/>
          <a:p>
            <a:r>
              <a:rPr lang="en-US" sz="1200" dirty="0">
                <a:solidFill>
                  <a:srgbClr val="FFC000"/>
                </a:solidFill>
                <a:latin typeface="Helvetica Neue Thin" charset="0"/>
                <a:ea typeface="Helvetica Neue Thin" charset="0"/>
                <a:cs typeface="Helvetica Neue Thin" charset="0"/>
              </a:rPr>
              <a:t>Petabytes</a:t>
            </a:r>
          </a:p>
        </p:txBody>
      </p:sp>
      <p:sp>
        <p:nvSpPr>
          <p:cNvPr id="29" name="Rectangle 28"/>
          <p:cNvSpPr/>
          <p:nvPr/>
        </p:nvSpPr>
        <p:spPr>
          <a:xfrm>
            <a:off x="367574" y="1599624"/>
            <a:ext cx="3666347" cy="2800767"/>
          </a:xfrm>
          <a:prstGeom prst="rect">
            <a:avLst/>
          </a:prstGeom>
        </p:spPr>
        <p:txBody>
          <a:bodyPr wrap="square">
            <a:spAutoFit/>
          </a:bodyPr>
          <a:lstStyle/>
          <a:p>
            <a:pPr marL="285750" indent="-285750">
              <a:buFont typeface="Arial" charset="0"/>
              <a:buChar char="•"/>
            </a:pPr>
            <a:r>
              <a:rPr lang="en-US" sz="1400" b="1" dirty="0">
                <a:solidFill>
                  <a:srgbClr val="002060"/>
                </a:solidFill>
                <a:latin typeface="Helvetica Neue Thin" charset="0"/>
                <a:ea typeface="Helvetica Neue Thin" charset="0"/>
                <a:cs typeface="Helvetica Neue Thin" charset="0"/>
              </a:rPr>
              <a:t>A cloud-based data platform </a:t>
            </a:r>
            <a:r>
              <a:rPr lang="en-US" sz="1400" dirty="0">
                <a:solidFill>
                  <a:srgbClr val="002060"/>
                </a:solidFill>
                <a:latin typeface="Helvetica Neue Thin" charset="0"/>
                <a:ea typeface="Helvetica Neue Thin" charset="0"/>
                <a:cs typeface="Helvetica Neue Thin" charset="0"/>
              </a:rPr>
              <a:t>that ingests large volumes &amp; types of data </a:t>
            </a:r>
          </a:p>
          <a:p>
            <a:endParaRPr lang="en-US" sz="1400" dirty="0">
              <a:solidFill>
                <a:srgbClr val="002060"/>
              </a:solidFill>
              <a:latin typeface="Helvetica Neue Thin" charset="0"/>
              <a:ea typeface="Helvetica Neue Thin" charset="0"/>
              <a:cs typeface="Helvetica Neue Thin" charset="0"/>
            </a:endParaRPr>
          </a:p>
          <a:p>
            <a:pPr marL="285750" indent="-285750">
              <a:buFont typeface="Arial" charset="0"/>
              <a:buChar char="•"/>
            </a:pPr>
            <a:r>
              <a:rPr lang="en-US" sz="1400" b="1" dirty="0">
                <a:solidFill>
                  <a:srgbClr val="002060"/>
                </a:solidFill>
                <a:latin typeface="Helvetica Neue Thin" charset="0"/>
                <a:ea typeface="Helvetica Neue Thin" charset="0"/>
                <a:cs typeface="Helvetica Neue Thin" charset="0"/>
              </a:rPr>
              <a:t>Delivers insights</a:t>
            </a:r>
            <a:r>
              <a:rPr lang="en-US" sz="1400" dirty="0">
                <a:solidFill>
                  <a:srgbClr val="002060"/>
                </a:solidFill>
                <a:latin typeface="Helvetica Neue Thin" charset="0"/>
                <a:ea typeface="Helvetica Neue Thin" charset="0"/>
                <a:cs typeface="Helvetica Neue Thin" charset="0"/>
              </a:rPr>
              <a:t> from precise weather data combined with location and other data sets</a:t>
            </a:r>
          </a:p>
          <a:p>
            <a:endParaRPr lang="en-US" sz="1400" dirty="0">
              <a:solidFill>
                <a:srgbClr val="002060"/>
              </a:solidFill>
              <a:latin typeface="Helvetica Neue Thin" charset="0"/>
              <a:ea typeface="Helvetica Neue Thin" charset="0"/>
              <a:cs typeface="Helvetica Neue Thin" charset="0"/>
            </a:endParaRPr>
          </a:p>
          <a:p>
            <a:pPr marL="285750" indent="-285750">
              <a:buFont typeface="Arial" charset="0"/>
              <a:buChar char="•"/>
            </a:pPr>
            <a:r>
              <a:rPr lang="en-US" sz="1400" b="1" dirty="0">
                <a:solidFill>
                  <a:srgbClr val="002060"/>
                </a:solidFill>
                <a:latin typeface="Helvetica Neue Thin" charset="0"/>
                <a:ea typeface="Helvetica Neue Thin" charset="0"/>
                <a:cs typeface="Helvetica Neue Thin" charset="0"/>
              </a:rPr>
              <a:t>Enables companies to embed weather insights</a:t>
            </a:r>
            <a:r>
              <a:rPr lang="en-US" sz="1400" dirty="0">
                <a:solidFill>
                  <a:srgbClr val="002060"/>
                </a:solidFill>
                <a:latin typeface="Helvetica Neue Thin" charset="0"/>
                <a:ea typeface="Helvetica Neue Thin" charset="0"/>
                <a:cs typeface="Helvetica Neue Thin" charset="0"/>
              </a:rPr>
              <a:t> into decision support platforms to take take action</a:t>
            </a:r>
          </a:p>
          <a:p>
            <a:r>
              <a:rPr lang="en-US" dirty="0">
                <a:solidFill>
                  <a:srgbClr val="222222"/>
                </a:solidFill>
                <a:latin typeface="arial" charset="0"/>
              </a:rPr>
              <a:t/>
            </a:r>
            <a:br>
              <a:rPr lang="en-US" dirty="0">
                <a:solidFill>
                  <a:srgbClr val="222222"/>
                </a:solidFill>
                <a:latin typeface="arial" charset="0"/>
              </a:rPr>
            </a:br>
            <a:endParaRPr lang="en-US" b="0" i="0" dirty="0">
              <a:solidFill>
                <a:srgbClr val="222222"/>
              </a:solidFill>
              <a:effectLst/>
              <a:latin typeface="arial" charset="0"/>
            </a:endParaRPr>
          </a:p>
        </p:txBody>
      </p:sp>
    </p:spTree>
    <p:extLst>
      <p:ext uri="{BB962C8B-B14F-4D97-AF65-F5344CB8AC3E}">
        <p14:creationId xmlns:p14="http://schemas.microsoft.com/office/powerpoint/2010/main" val="1403515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6200" y="173757"/>
            <a:ext cx="7713928" cy="584775"/>
          </a:xfrm>
          <a:prstGeom prst="rect">
            <a:avLst/>
          </a:prstGeom>
        </p:spPr>
        <p:txBody>
          <a:bodyPr wrap="square">
            <a:spAutoFit/>
          </a:bodyPr>
          <a:lstStyle/>
          <a:p>
            <a:r>
              <a:rPr lang="en-US" sz="3200" b="1" dirty="0">
                <a:solidFill>
                  <a:schemeClr val="tx2"/>
                </a:solidFill>
                <a:latin typeface="Helvetica Neue" charset="0"/>
                <a:ea typeface="Helvetica Neue" charset="0"/>
                <a:cs typeface="Helvetica Neue" charset="0"/>
                <a:sym typeface="Arial"/>
                <a:rtl val="0"/>
              </a:rPr>
              <a:t>The Weather Company Data Packages</a:t>
            </a:r>
          </a:p>
        </p:txBody>
      </p:sp>
      <p:sp>
        <p:nvSpPr>
          <p:cNvPr id="20" name="Rectangle 19"/>
          <p:cNvSpPr/>
          <p:nvPr/>
        </p:nvSpPr>
        <p:spPr>
          <a:xfrm>
            <a:off x="662825" y="1508733"/>
            <a:ext cx="7680961" cy="30985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ight Arrow 5"/>
          <p:cNvSpPr/>
          <p:nvPr/>
        </p:nvSpPr>
        <p:spPr bwMode="auto">
          <a:xfrm>
            <a:off x="838200" y="4248150"/>
            <a:ext cx="7418958" cy="359099"/>
          </a:xfrm>
          <a:prstGeom prst="rightArrow">
            <a:avLst/>
          </a:prstGeom>
          <a:solidFill>
            <a:schemeClr val="tx1"/>
          </a:solidFill>
          <a:ln w="9525" cap="flat" cmpd="sng" algn="ctr">
            <a:noFill/>
            <a:prstDash val="solid"/>
            <a:round/>
            <a:headEnd type="none" w="med" len="med"/>
            <a:tailEnd type="none" w="med" len="med"/>
          </a:ln>
          <a:effectLst/>
        </p:spPr>
        <p:txBody>
          <a:bodyPr vert="horz" wrap="square" lIns="51428" tIns="25717" rIns="51428" bIns="25717" numCol="1" rtlCol="0" anchor="t" anchorCtr="0" compatLnSpc="1">
            <a:prstTxWarp prst="textNoShape">
              <a:avLst/>
            </a:prstTxWarp>
          </a:bodyPr>
          <a:lstStyle/>
          <a:p>
            <a:pPr algn="ctr" defTabSz="514262"/>
            <a:endParaRPr lang="en-US" sz="1000" dirty="0">
              <a:solidFill>
                <a:schemeClr val="bg1"/>
              </a:solidFill>
              <a:cs typeface="Arial" pitchFamily="34" charset="0"/>
            </a:endParaRPr>
          </a:p>
        </p:txBody>
      </p:sp>
      <p:sp>
        <p:nvSpPr>
          <p:cNvPr id="22" name="TextBox 21"/>
          <p:cNvSpPr txBox="1"/>
          <p:nvPr/>
        </p:nvSpPr>
        <p:spPr>
          <a:xfrm>
            <a:off x="970958" y="4350778"/>
            <a:ext cx="527388" cy="153888"/>
          </a:xfrm>
          <a:prstGeom prst="rect">
            <a:avLst/>
          </a:prstGeom>
          <a:noFill/>
        </p:spPr>
        <p:txBody>
          <a:bodyPr wrap="none" lIns="0" tIns="0" rIns="0" bIns="0" rtlCol="0">
            <a:spAutoFit/>
          </a:bodyPr>
          <a:lstStyle/>
          <a:p>
            <a:pPr algn="ctr"/>
            <a:r>
              <a:rPr lang="en-US" sz="1000" dirty="0">
                <a:solidFill>
                  <a:schemeClr val="bg1"/>
                </a:solidFill>
                <a:cs typeface="Arial" panose="020B0604020202020204" pitchFamily="34" charset="0"/>
              </a:rPr>
              <a:t>Historical</a:t>
            </a:r>
          </a:p>
        </p:txBody>
      </p:sp>
      <p:sp>
        <p:nvSpPr>
          <p:cNvPr id="23" name="TextBox 22"/>
          <p:cNvSpPr txBox="1"/>
          <p:nvPr/>
        </p:nvSpPr>
        <p:spPr>
          <a:xfrm>
            <a:off x="2734760" y="4342060"/>
            <a:ext cx="426399" cy="153888"/>
          </a:xfrm>
          <a:prstGeom prst="rect">
            <a:avLst/>
          </a:prstGeom>
          <a:noFill/>
        </p:spPr>
        <p:txBody>
          <a:bodyPr wrap="none" lIns="0" tIns="0" rIns="0" bIns="0" rtlCol="0">
            <a:spAutoFit/>
          </a:bodyPr>
          <a:lstStyle/>
          <a:p>
            <a:pPr algn="ctr"/>
            <a:r>
              <a:rPr lang="en-US" sz="1000" dirty="0">
                <a:solidFill>
                  <a:schemeClr val="bg1"/>
                </a:solidFill>
                <a:cs typeface="Arial" panose="020B0604020202020204" pitchFamily="34" charset="0"/>
              </a:rPr>
              <a:t>Current</a:t>
            </a:r>
          </a:p>
        </p:txBody>
      </p:sp>
      <p:sp>
        <p:nvSpPr>
          <p:cNvPr id="24" name="TextBox 23"/>
          <p:cNvSpPr txBox="1"/>
          <p:nvPr/>
        </p:nvSpPr>
        <p:spPr>
          <a:xfrm>
            <a:off x="4436212" y="4350435"/>
            <a:ext cx="1856277" cy="153888"/>
          </a:xfrm>
          <a:prstGeom prst="rect">
            <a:avLst/>
          </a:prstGeom>
          <a:noFill/>
        </p:spPr>
        <p:txBody>
          <a:bodyPr wrap="none" lIns="0" tIns="0" rIns="0" bIns="0" rtlCol="0">
            <a:spAutoFit/>
          </a:bodyPr>
          <a:lstStyle/>
          <a:p>
            <a:pPr algn="ctr"/>
            <a:r>
              <a:rPr lang="en-US" sz="1000" dirty="0">
                <a:solidFill>
                  <a:schemeClr val="bg1"/>
                </a:solidFill>
                <a:cs typeface="Arial" panose="020B0604020202020204" pitchFamily="34" charset="0"/>
              </a:rPr>
              <a:t>Immediate Future out to 15 Days</a:t>
            </a:r>
          </a:p>
        </p:txBody>
      </p:sp>
      <p:sp>
        <p:nvSpPr>
          <p:cNvPr id="25" name="TextBox 24"/>
          <p:cNvSpPr txBox="1"/>
          <p:nvPr/>
        </p:nvSpPr>
        <p:spPr>
          <a:xfrm>
            <a:off x="7213185" y="4342060"/>
            <a:ext cx="672771" cy="153888"/>
          </a:xfrm>
          <a:prstGeom prst="rect">
            <a:avLst/>
          </a:prstGeom>
          <a:noFill/>
        </p:spPr>
        <p:txBody>
          <a:bodyPr wrap="square" lIns="0" tIns="0" rIns="0" bIns="0" rtlCol="0">
            <a:spAutoFit/>
          </a:bodyPr>
          <a:lstStyle/>
          <a:p>
            <a:pPr algn="r"/>
            <a:r>
              <a:rPr lang="en-US" sz="1000" dirty="0">
                <a:solidFill>
                  <a:schemeClr val="bg1"/>
                </a:solidFill>
                <a:cs typeface="Arial" panose="020B0604020202020204" pitchFamily="34" charset="0"/>
              </a:rPr>
              <a:t>Seasonal</a:t>
            </a:r>
          </a:p>
        </p:txBody>
      </p:sp>
      <p:sp>
        <p:nvSpPr>
          <p:cNvPr id="26" name="Rectangle 25"/>
          <p:cNvSpPr/>
          <p:nvPr/>
        </p:nvSpPr>
        <p:spPr bwMode="auto">
          <a:xfrm>
            <a:off x="838200" y="3668609"/>
            <a:ext cx="1147977" cy="592689"/>
          </a:xfrm>
          <a:prstGeom prst="rect">
            <a:avLst/>
          </a:prstGeom>
          <a:solidFill>
            <a:srgbClr val="004990"/>
          </a:solidFill>
          <a:ln w="19050" cap="flat" cmpd="sng" algn="ctr">
            <a:solidFill>
              <a:srgbClr val="00499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8288" tIns="27432" rIns="18288" bIns="27432" numCol="1" rtlCol="0" anchor="ctr" anchorCtr="0" compatLnSpc="1">
            <a:prstTxWarp prst="textNoShape">
              <a:avLst/>
            </a:prstTxWarp>
            <a:noAutofit/>
          </a:bodyPr>
          <a:lstStyle/>
          <a:p>
            <a:pPr algn="ctr" defTabSz="685681">
              <a:spcBef>
                <a:spcPts val="450"/>
              </a:spcBef>
            </a:pPr>
            <a:r>
              <a:rPr lang="en-US" sz="1000" dirty="0">
                <a:solidFill>
                  <a:schemeClr val="bg1"/>
                </a:solidFill>
                <a:cs typeface="Arial" pitchFamily="34" charset="0"/>
              </a:rPr>
              <a:t>Weather Company </a:t>
            </a:r>
            <a:br>
              <a:rPr lang="en-US" sz="1000" dirty="0">
                <a:solidFill>
                  <a:schemeClr val="bg1"/>
                </a:solidFill>
                <a:cs typeface="Arial" pitchFamily="34" charset="0"/>
              </a:rPr>
            </a:br>
            <a:r>
              <a:rPr lang="en-US" sz="1000" dirty="0">
                <a:solidFill>
                  <a:schemeClr val="bg1"/>
                </a:solidFill>
                <a:cs typeface="Arial" pitchFamily="34" charset="0"/>
              </a:rPr>
              <a:t>Data – </a:t>
            </a:r>
            <a:r>
              <a:rPr lang="en-US" sz="1000" b="1" dirty="0">
                <a:solidFill>
                  <a:schemeClr val="bg1"/>
                </a:solidFill>
                <a:cs typeface="Arial" pitchFamily="34" charset="0"/>
              </a:rPr>
              <a:t>Historical </a:t>
            </a:r>
          </a:p>
          <a:p>
            <a:pPr algn="ctr" defTabSz="685681">
              <a:spcBef>
                <a:spcPts val="450"/>
              </a:spcBef>
            </a:pPr>
            <a:r>
              <a:rPr lang="en-US" sz="700" dirty="0">
                <a:solidFill>
                  <a:schemeClr val="bg1"/>
                </a:solidFill>
                <a:cs typeface="Arial" pitchFamily="34" charset="0"/>
              </a:rPr>
              <a:t>Standard Historical Observations</a:t>
            </a:r>
          </a:p>
        </p:txBody>
      </p:sp>
      <p:sp>
        <p:nvSpPr>
          <p:cNvPr id="31" name="Rectangle 30"/>
          <p:cNvSpPr/>
          <p:nvPr/>
        </p:nvSpPr>
        <p:spPr bwMode="auto">
          <a:xfrm>
            <a:off x="2061500" y="2137190"/>
            <a:ext cx="4825072" cy="427296"/>
          </a:xfrm>
          <a:prstGeom prst="rect">
            <a:avLst/>
          </a:prstGeom>
          <a:solidFill>
            <a:srgbClr val="004990"/>
          </a:solidFill>
          <a:ln w="19050" cap="flat" cmpd="sng" algn="ctr">
            <a:solidFill>
              <a:srgbClr val="00499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8288" tIns="27432" rIns="18288" bIns="27432" numCol="1" rtlCol="0" anchor="ctr" anchorCtr="0" compatLnSpc="1">
            <a:prstTxWarp prst="textNoShape">
              <a:avLst/>
            </a:prstTxWarp>
            <a:noAutofit/>
          </a:bodyPr>
          <a:lstStyle/>
          <a:p>
            <a:pPr algn="ctr" defTabSz="685681">
              <a:spcBef>
                <a:spcPts val="450"/>
              </a:spcBef>
            </a:pPr>
            <a:r>
              <a:rPr lang="en-US" sz="1000" dirty="0">
                <a:solidFill>
                  <a:schemeClr val="bg1"/>
                </a:solidFill>
                <a:cs typeface="Arial" pitchFamily="34" charset="0"/>
              </a:rPr>
              <a:t>Weather Company Data – </a:t>
            </a:r>
            <a:r>
              <a:rPr lang="en-US" sz="1000" b="1" dirty="0">
                <a:solidFill>
                  <a:schemeClr val="bg1"/>
                </a:solidFill>
                <a:cs typeface="Arial" pitchFamily="34" charset="0"/>
              </a:rPr>
              <a:t>Lightning Detection</a:t>
            </a:r>
          </a:p>
          <a:p>
            <a:pPr algn="ctr" defTabSz="685681">
              <a:spcBef>
                <a:spcPts val="450"/>
              </a:spcBef>
            </a:pPr>
            <a:r>
              <a:rPr lang="en-US" sz="600" dirty="0">
                <a:solidFill>
                  <a:schemeClr val="bg1"/>
                </a:solidFill>
                <a:cs typeface="Arial" pitchFamily="34" charset="0"/>
              </a:rPr>
              <a:t>Lightning</a:t>
            </a:r>
          </a:p>
        </p:txBody>
      </p:sp>
      <p:sp>
        <p:nvSpPr>
          <p:cNvPr id="32" name="Rectangle 31"/>
          <p:cNvSpPr/>
          <p:nvPr/>
        </p:nvSpPr>
        <p:spPr bwMode="auto">
          <a:xfrm>
            <a:off x="2061500" y="3668009"/>
            <a:ext cx="4850526" cy="579821"/>
          </a:xfrm>
          <a:prstGeom prst="rect">
            <a:avLst/>
          </a:prstGeom>
          <a:solidFill>
            <a:srgbClr val="004990"/>
          </a:solidFill>
          <a:ln w="19050" cap="flat" cmpd="sng" algn="ctr">
            <a:solidFill>
              <a:srgbClr val="00499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8288" tIns="27432" rIns="18288" bIns="27432" numCol="1" rtlCol="0" anchor="ctr" anchorCtr="0" compatLnSpc="1">
            <a:prstTxWarp prst="textNoShape">
              <a:avLst/>
            </a:prstTxWarp>
            <a:noAutofit/>
          </a:bodyPr>
          <a:lstStyle/>
          <a:p>
            <a:pPr algn="ctr" defTabSz="685681">
              <a:spcBef>
                <a:spcPts val="450"/>
              </a:spcBef>
            </a:pPr>
            <a:r>
              <a:rPr lang="en-US" sz="1000" dirty="0">
                <a:solidFill>
                  <a:schemeClr val="bg1"/>
                </a:solidFill>
                <a:cs typeface="Arial" pitchFamily="34" charset="0"/>
              </a:rPr>
              <a:t>Weather Company Data – </a:t>
            </a:r>
            <a:r>
              <a:rPr lang="en-US" sz="1000" b="1" dirty="0">
                <a:solidFill>
                  <a:schemeClr val="bg1"/>
                </a:solidFill>
                <a:cs typeface="Arial" pitchFamily="34" charset="0"/>
              </a:rPr>
              <a:t>Core</a:t>
            </a:r>
          </a:p>
          <a:p>
            <a:pPr algn="ctr"/>
            <a:r>
              <a:rPr lang="en-US" sz="700" dirty="0">
                <a:solidFill>
                  <a:schemeClr val="bg1"/>
                </a:solidFill>
              </a:rPr>
              <a:t>Current conditions (site-based &amp; time series observations) + Daily Forecast  (3-, 5-, 7-, 10-Day) + 2-Day Hourly Forecast + Intraday Forecast (3-, 5-, 7-, 10-Day) + Weather Alert Headlines &amp; Details  (U.S., Canada, Europe) + Daily &amp; Monthly Almanac + Location Mapping Services + Radar Images + Satellite Images + Current condition and forecast visualizations</a:t>
            </a:r>
          </a:p>
        </p:txBody>
      </p:sp>
      <p:sp>
        <p:nvSpPr>
          <p:cNvPr id="33" name="Rectangle 32"/>
          <p:cNvSpPr/>
          <p:nvPr/>
        </p:nvSpPr>
        <p:spPr bwMode="auto">
          <a:xfrm>
            <a:off x="833451" y="3156648"/>
            <a:ext cx="3576489" cy="424732"/>
          </a:xfrm>
          <a:prstGeom prst="rect">
            <a:avLst/>
          </a:prstGeom>
          <a:solidFill>
            <a:srgbClr val="004990"/>
          </a:solidFill>
          <a:ln w="19050" cap="flat" cmpd="sng" algn="ctr">
            <a:solidFill>
              <a:srgbClr val="00499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8288" tIns="27432" rIns="18288" bIns="27432" numCol="1" rtlCol="0" anchor="t" anchorCtr="0" compatLnSpc="1">
            <a:prstTxWarp prst="textNoShape">
              <a:avLst/>
            </a:prstTxWarp>
            <a:spAutoFit/>
          </a:bodyPr>
          <a:lstStyle/>
          <a:p>
            <a:pPr algn="ctr" defTabSz="685681">
              <a:spcBef>
                <a:spcPts val="450"/>
              </a:spcBef>
            </a:pPr>
            <a:r>
              <a:rPr lang="en-US" sz="1000" dirty="0">
                <a:solidFill>
                  <a:schemeClr val="bg1"/>
                </a:solidFill>
                <a:cs typeface="Arial" pitchFamily="34" charset="0"/>
              </a:rPr>
              <a:t>Weather Company Data – </a:t>
            </a:r>
            <a:r>
              <a:rPr lang="en-US" sz="1000" b="1" dirty="0">
                <a:solidFill>
                  <a:schemeClr val="bg1"/>
                </a:solidFill>
                <a:cs typeface="Arial" pitchFamily="34" charset="0"/>
              </a:rPr>
              <a:t>Enhanced Current Conditions</a:t>
            </a:r>
          </a:p>
          <a:p>
            <a:pPr algn="ctr" defTabSz="685681"/>
            <a:r>
              <a:rPr lang="en-US" sz="700" dirty="0">
                <a:solidFill>
                  <a:schemeClr val="bg1"/>
                </a:solidFill>
              </a:rPr>
              <a:t>Currents on Demand + Personal Weather Station Observations including Bounding Box &amp; Time Series</a:t>
            </a:r>
          </a:p>
        </p:txBody>
      </p:sp>
      <p:sp>
        <p:nvSpPr>
          <p:cNvPr id="47" name="Rectangle 46"/>
          <p:cNvSpPr/>
          <p:nvPr/>
        </p:nvSpPr>
        <p:spPr bwMode="auto">
          <a:xfrm>
            <a:off x="4556348" y="3156648"/>
            <a:ext cx="3538149" cy="424732"/>
          </a:xfrm>
          <a:prstGeom prst="rect">
            <a:avLst/>
          </a:prstGeom>
          <a:solidFill>
            <a:srgbClr val="004990"/>
          </a:solidFill>
          <a:ln w="19050" cap="flat" cmpd="sng" algn="ctr">
            <a:solidFill>
              <a:srgbClr val="00499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8288" tIns="27432" rIns="18288" bIns="27432" numCol="1" rtlCol="0" anchor="t" anchorCtr="0" compatLnSpc="1">
            <a:prstTxWarp prst="textNoShape">
              <a:avLst/>
            </a:prstTxWarp>
            <a:spAutoFit/>
          </a:bodyPr>
          <a:lstStyle/>
          <a:p>
            <a:pPr algn="ctr" defTabSz="685681">
              <a:spcBef>
                <a:spcPts val="450"/>
              </a:spcBef>
            </a:pPr>
            <a:r>
              <a:rPr lang="en-US" sz="1000" dirty="0">
                <a:solidFill>
                  <a:schemeClr val="bg1"/>
                </a:solidFill>
                <a:cs typeface="Arial" pitchFamily="34" charset="0"/>
              </a:rPr>
              <a:t>Weather Company Data – </a:t>
            </a:r>
            <a:r>
              <a:rPr lang="en-US" sz="1000" b="1" dirty="0">
                <a:solidFill>
                  <a:schemeClr val="bg1"/>
                </a:solidFill>
                <a:cs typeface="Arial" pitchFamily="34" charset="0"/>
              </a:rPr>
              <a:t>Enhanced Forecast</a:t>
            </a:r>
          </a:p>
          <a:p>
            <a:pPr algn="ctr" defTabSz="685681"/>
            <a:r>
              <a:rPr lang="en-US" sz="700" dirty="0">
                <a:solidFill>
                  <a:schemeClr val="bg1"/>
                </a:solidFill>
              </a:rPr>
              <a:t>Precipitation Forecast + 15 Minute Forecast + 15 Day - Hourly Forecast + </a:t>
            </a:r>
            <a:br>
              <a:rPr lang="en-US" sz="700" dirty="0">
                <a:solidFill>
                  <a:schemeClr val="bg1"/>
                </a:solidFill>
              </a:rPr>
            </a:br>
            <a:r>
              <a:rPr lang="en-US" sz="700" dirty="0">
                <a:solidFill>
                  <a:schemeClr val="bg1"/>
                </a:solidFill>
              </a:rPr>
              <a:t>15 day gridded and polygonal forecast data</a:t>
            </a:r>
          </a:p>
        </p:txBody>
      </p:sp>
      <p:sp>
        <p:nvSpPr>
          <p:cNvPr id="48" name="Rectangle 47"/>
          <p:cNvSpPr/>
          <p:nvPr/>
        </p:nvSpPr>
        <p:spPr bwMode="auto">
          <a:xfrm>
            <a:off x="854782" y="1617621"/>
            <a:ext cx="7256297" cy="408268"/>
          </a:xfrm>
          <a:prstGeom prst="rect">
            <a:avLst/>
          </a:prstGeom>
          <a:solidFill>
            <a:srgbClr val="004990"/>
          </a:solidFill>
          <a:ln w="9525" cap="flat" cmpd="sng" algn="ctr">
            <a:solidFill>
              <a:srgbClr val="00499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8288" tIns="27432" rIns="18288" bIns="27432" numCol="1" rtlCol="0" anchor="t" anchorCtr="0" compatLnSpc="1">
            <a:prstTxWarp prst="textNoShape">
              <a:avLst/>
            </a:prstTxWarp>
            <a:noAutofit/>
          </a:bodyPr>
          <a:lstStyle/>
          <a:p>
            <a:pPr algn="ctr" defTabSz="685681">
              <a:spcBef>
                <a:spcPts val="450"/>
              </a:spcBef>
            </a:pPr>
            <a:r>
              <a:rPr lang="en-US" sz="1000" dirty="0">
                <a:solidFill>
                  <a:schemeClr val="bg1"/>
                </a:solidFill>
                <a:cs typeface="Arial" pitchFamily="34" charset="0"/>
              </a:rPr>
              <a:t>Weather Company Data – </a:t>
            </a:r>
            <a:r>
              <a:rPr lang="en-US" sz="1000" b="1" dirty="0">
                <a:solidFill>
                  <a:schemeClr val="bg1"/>
                </a:solidFill>
                <a:cs typeface="Arial" pitchFamily="34" charset="0"/>
              </a:rPr>
              <a:t>Lifestyle Indices</a:t>
            </a:r>
          </a:p>
          <a:p>
            <a:pPr algn="ctr" defTabSz="685681"/>
            <a:r>
              <a:rPr lang="en-US" sz="700" dirty="0">
                <a:solidFill>
                  <a:schemeClr val="bg1"/>
                </a:solidFill>
              </a:rPr>
              <a:t>Air Quality + Pollen + Flu Outbreak + Tides + Aches &amp; Pains + Breathing + </a:t>
            </a:r>
            <a:r>
              <a:rPr lang="en-US" sz="700" b="1" dirty="0">
                <a:solidFill>
                  <a:schemeClr val="bg1"/>
                </a:solidFill>
              </a:rPr>
              <a:t>Dry Skin + Frizz </a:t>
            </a:r>
            <a:r>
              <a:rPr lang="en-US" sz="700" dirty="0">
                <a:solidFill>
                  <a:schemeClr val="bg1"/>
                </a:solidFill>
              </a:rPr>
              <a:t>+ Frost Potential + Golf + Heating &amp; Cooling + Leisure Travel + Running Weather + Ski + Static Electricity  </a:t>
            </a:r>
          </a:p>
        </p:txBody>
      </p:sp>
      <p:sp>
        <p:nvSpPr>
          <p:cNvPr id="49" name="Rectangle 48"/>
          <p:cNvSpPr/>
          <p:nvPr/>
        </p:nvSpPr>
        <p:spPr bwMode="auto">
          <a:xfrm>
            <a:off x="2052280" y="2541429"/>
            <a:ext cx="4825072" cy="513490"/>
          </a:xfrm>
          <a:prstGeom prst="rect">
            <a:avLst/>
          </a:prstGeom>
          <a:solidFill>
            <a:srgbClr val="004990"/>
          </a:solidFill>
          <a:ln w="19050" cap="flat" cmpd="sng" algn="ctr">
            <a:solidFill>
              <a:srgbClr val="00499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8288" tIns="27432" rIns="18288" bIns="27432" numCol="1" rtlCol="0" anchor="ctr" anchorCtr="0" compatLnSpc="1">
            <a:prstTxWarp prst="textNoShape">
              <a:avLst/>
            </a:prstTxWarp>
            <a:noAutofit/>
          </a:bodyPr>
          <a:lstStyle/>
          <a:p>
            <a:pPr algn="ctr" defTabSz="685681">
              <a:spcBef>
                <a:spcPts val="450"/>
              </a:spcBef>
            </a:pPr>
            <a:r>
              <a:rPr lang="en-US" sz="1000" dirty="0">
                <a:solidFill>
                  <a:schemeClr val="bg1"/>
                </a:solidFill>
                <a:cs typeface="Arial" pitchFamily="34" charset="0"/>
              </a:rPr>
              <a:t>Weather Company Data – </a:t>
            </a:r>
            <a:r>
              <a:rPr lang="en-US" sz="1000" b="1" dirty="0">
                <a:solidFill>
                  <a:schemeClr val="bg1"/>
                </a:solidFill>
                <a:cs typeface="Arial" pitchFamily="34" charset="0"/>
              </a:rPr>
              <a:t>Severe Weather </a:t>
            </a:r>
          </a:p>
          <a:p>
            <a:pPr algn="ctr" defTabSz="685681"/>
            <a:r>
              <a:rPr lang="en-US" sz="700" dirty="0">
                <a:solidFill>
                  <a:schemeClr val="bg1"/>
                </a:solidFill>
              </a:rPr>
              <a:t>Power Disruption + 15 day probabilistic tropical forecast + Storm Reports + StrikeZone + HailZone + ShearVision + HailVision + RainVision + SnowVision + IceVision</a:t>
            </a:r>
          </a:p>
        </p:txBody>
      </p:sp>
      <p:sp>
        <p:nvSpPr>
          <p:cNvPr id="50" name="Rectangle 49"/>
          <p:cNvSpPr/>
          <p:nvPr/>
        </p:nvSpPr>
        <p:spPr bwMode="auto">
          <a:xfrm>
            <a:off x="833451" y="2144083"/>
            <a:ext cx="1147977" cy="914412"/>
          </a:xfrm>
          <a:prstGeom prst="rect">
            <a:avLst/>
          </a:prstGeom>
          <a:solidFill>
            <a:srgbClr val="004990"/>
          </a:solidFill>
          <a:ln w="19050" cap="flat" cmpd="sng" algn="ctr">
            <a:solidFill>
              <a:srgbClr val="00499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8288" tIns="27432" rIns="18288" bIns="27432" numCol="1" rtlCol="0" anchor="ctr" anchorCtr="0" compatLnSpc="1">
            <a:prstTxWarp prst="textNoShape">
              <a:avLst/>
            </a:prstTxWarp>
            <a:noAutofit/>
          </a:bodyPr>
          <a:lstStyle/>
          <a:p>
            <a:pPr algn="ctr" defTabSz="685681">
              <a:spcBef>
                <a:spcPts val="450"/>
              </a:spcBef>
            </a:pPr>
            <a:r>
              <a:rPr lang="en-US" sz="1000" dirty="0">
                <a:solidFill>
                  <a:schemeClr val="bg1"/>
                </a:solidFill>
                <a:cs typeface="Arial" pitchFamily="34" charset="0"/>
              </a:rPr>
              <a:t>Weather Company </a:t>
            </a:r>
            <a:br>
              <a:rPr lang="en-US" sz="1000" dirty="0">
                <a:solidFill>
                  <a:schemeClr val="bg1"/>
                </a:solidFill>
                <a:cs typeface="Arial" pitchFamily="34" charset="0"/>
              </a:rPr>
            </a:br>
            <a:r>
              <a:rPr lang="en-US" sz="1000" dirty="0">
                <a:solidFill>
                  <a:schemeClr val="bg1"/>
                </a:solidFill>
                <a:cs typeface="Arial" pitchFamily="34" charset="0"/>
              </a:rPr>
              <a:t>Data – </a:t>
            </a:r>
            <a:br>
              <a:rPr lang="en-US" sz="1000" dirty="0">
                <a:solidFill>
                  <a:schemeClr val="bg1"/>
                </a:solidFill>
                <a:cs typeface="Arial" pitchFamily="34" charset="0"/>
              </a:rPr>
            </a:br>
            <a:r>
              <a:rPr lang="en-US" sz="1000" b="1" dirty="0">
                <a:solidFill>
                  <a:schemeClr val="bg1"/>
                </a:solidFill>
                <a:cs typeface="Arial" pitchFamily="34" charset="0"/>
              </a:rPr>
              <a:t>Cleaned Historical </a:t>
            </a:r>
          </a:p>
        </p:txBody>
      </p:sp>
      <p:sp>
        <p:nvSpPr>
          <p:cNvPr id="51" name="Rectangle 50"/>
          <p:cNvSpPr/>
          <p:nvPr/>
        </p:nvSpPr>
        <p:spPr bwMode="auto">
          <a:xfrm>
            <a:off x="6948692" y="2137191"/>
            <a:ext cx="1145805" cy="908156"/>
          </a:xfrm>
          <a:prstGeom prst="rect">
            <a:avLst/>
          </a:prstGeom>
          <a:solidFill>
            <a:srgbClr val="004990"/>
          </a:solidFill>
          <a:ln w="19050" cap="flat" cmpd="sng" algn="ctr">
            <a:solidFill>
              <a:srgbClr val="00499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8288" tIns="27432" rIns="18288" bIns="27432" numCol="1" rtlCol="0" anchor="ctr" anchorCtr="0" compatLnSpc="1">
            <a:prstTxWarp prst="textNoShape">
              <a:avLst/>
            </a:prstTxWarp>
            <a:noAutofit/>
          </a:bodyPr>
          <a:lstStyle/>
          <a:p>
            <a:pPr algn="ctr" defTabSz="685681">
              <a:spcBef>
                <a:spcPts val="450"/>
              </a:spcBef>
            </a:pPr>
            <a:r>
              <a:rPr lang="en-US" sz="1000" dirty="0">
                <a:solidFill>
                  <a:schemeClr val="bg1"/>
                </a:solidFill>
                <a:cs typeface="Arial" pitchFamily="34" charset="0"/>
              </a:rPr>
              <a:t>Weather Company Data – </a:t>
            </a:r>
            <a:br>
              <a:rPr lang="en-US" sz="1000" dirty="0">
                <a:solidFill>
                  <a:schemeClr val="bg1"/>
                </a:solidFill>
                <a:cs typeface="Arial" pitchFamily="34" charset="0"/>
              </a:rPr>
            </a:br>
            <a:r>
              <a:rPr lang="en-US" sz="1000" b="1" dirty="0">
                <a:solidFill>
                  <a:schemeClr val="bg1"/>
                </a:solidFill>
                <a:cs typeface="Arial" pitchFamily="34" charset="0"/>
              </a:rPr>
              <a:t>Seasonal Forecast</a:t>
            </a:r>
          </a:p>
          <a:p>
            <a:pPr algn="ctr" defTabSz="685681">
              <a:spcBef>
                <a:spcPts val="450"/>
              </a:spcBef>
            </a:pPr>
            <a:r>
              <a:rPr lang="en-US" sz="700" dirty="0">
                <a:solidFill>
                  <a:schemeClr val="bg1"/>
                </a:solidFill>
              </a:rPr>
              <a:t>Seasonal &amp; Sub-seasonal</a:t>
            </a:r>
          </a:p>
        </p:txBody>
      </p:sp>
    </p:spTree>
    <p:extLst>
      <p:ext uri="{BB962C8B-B14F-4D97-AF65-F5344CB8AC3E}">
        <p14:creationId xmlns:p14="http://schemas.microsoft.com/office/powerpoint/2010/main" val="19398245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386290" y="1453545"/>
            <a:ext cx="3042710" cy="2062103"/>
          </a:xfrm>
          <a:prstGeom prst="rect">
            <a:avLst/>
          </a:prstGeom>
        </p:spPr>
        <p:txBody>
          <a:bodyPr wrap="square">
            <a:spAutoFit/>
          </a:bodyPr>
          <a:lstStyle/>
          <a:p>
            <a:r>
              <a:rPr lang="en-US" sz="3200" b="1" dirty="0">
                <a:solidFill>
                  <a:schemeClr val="tx2"/>
                </a:solidFill>
                <a:latin typeface="Arial"/>
                <a:ea typeface="Arial"/>
                <a:cs typeface="Arial"/>
                <a:sym typeface="Arial"/>
                <a:rtl val="0"/>
              </a:rPr>
              <a:t>Delivering Better Business Outcomes</a:t>
            </a:r>
          </a:p>
        </p:txBody>
      </p:sp>
      <p:sp>
        <p:nvSpPr>
          <p:cNvPr id="14" name="TextBox 13"/>
          <p:cNvSpPr txBox="1"/>
          <p:nvPr/>
        </p:nvSpPr>
        <p:spPr>
          <a:xfrm>
            <a:off x="386290" y="3491682"/>
            <a:ext cx="4123744" cy="400110"/>
          </a:xfrm>
          <a:prstGeom prst="rect">
            <a:avLst/>
          </a:prstGeom>
          <a:noFill/>
        </p:spPr>
        <p:txBody>
          <a:bodyPr wrap="square" rtlCol="0">
            <a:spAutoFit/>
          </a:bodyPr>
          <a:lstStyle/>
          <a:p>
            <a:r>
              <a:rPr lang="en-US" sz="2000" dirty="0">
                <a:solidFill>
                  <a:srgbClr val="002060"/>
                </a:solidFill>
                <a:latin typeface="Helvetica Neue Thin" charset="0"/>
                <a:ea typeface="Helvetica Neue Thin" charset="0"/>
                <a:cs typeface="Helvetica Neue Thin" charset="0"/>
              </a:rPr>
              <a:t>Weather Solutions &amp; Use Cases</a:t>
            </a:r>
          </a:p>
        </p:txBody>
      </p:sp>
      <p:pic>
        <p:nvPicPr>
          <p:cNvPr id="23" name="Picture 2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438510" y="1371314"/>
            <a:ext cx="420542" cy="420542"/>
          </a:xfrm>
          <a:prstGeom prst="rect">
            <a:avLst/>
          </a:prstGeom>
        </p:spPr>
      </p:pic>
      <p:pic>
        <p:nvPicPr>
          <p:cNvPr id="24" name="Picture 2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492211" y="4307258"/>
            <a:ext cx="358239" cy="358239"/>
          </a:xfrm>
          <a:prstGeom prst="rect">
            <a:avLst/>
          </a:prstGeom>
        </p:spPr>
      </p:pic>
      <p:pic>
        <p:nvPicPr>
          <p:cNvPr id="25" name="Picture 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46298" y="451386"/>
            <a:ext cx="404966" cy="404966"/>
          </a:xfrm>
          <a:prstGeom prst="rect">
            <a:avLst/>
          </a:prstGeom>
        </p:spPr>
      </p:pic>
      <p:pic>
        <p:nvPicPr>
          <p:cNvPr id="27" name="Picture 2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443997" y="3554460"/>
            <a:ext cx="454666" cy="454666"/>
          </a:xfrm>
          <a:prstGeom prst="rect">
            <a:avLst/>
          </a:prstGeom>
        </p:spPr>
      </p:pic>
      <p:graphicFrame>
        <p:nvGraphicFramePr>
          <p:cNvPr id="29" name="Table 28"/>
          <p:cNvGraphicFramePr>
            <a:graphicFrameLocks noGrp="1"/>
          </p:cNvGraphicFramePr>
          <p:nvPr>
            <p:extLst>
              <p:ext uri="{D42A27DB-BD31-4B8C-83A1-F6EECF244321}">
                <p14:modId xmlns:p14="http://schemas.microsoft.com/office/powerpoint/2010/main" val="1897725803"/>
              </p:ext>
            </p:extLst>
          </p:nvPr>
        </p:nvGraphicFramePr>
        <p:xfrm>
          <a:off x="6248400" y="281121"/>
          <a:ext cx="1905000" cy="4525068"/>
        </p:xfrm>
        <a:graphic>
          <a:graphicData uri="http://schemas.openxmlformats.org/drawingml/2006/table">
            <a:tbl>
              <a:tblPr firstRow="1" bandRow="1">
                <a:tableStyleId>{5C22544A-7EE6-4342-B048-85BDC9FD1C3A}</a:tableStyleId>
              </a:tblPr>
              <a:tblGrid>
                <a:gridCol w="1905000">
                  <a:extLst>
                    <a:ext uri="{9D8B030D-6E8A-4147-A177-3AD203B41FA5}">
                      <a16:colId xmlns="" xmlns:a16="http://schemas.microsoft.com/office/drawing/2014/main" val="20000"/>
                    </a:ext>
                  </a:extLst>
                </a:gridCol>
              </a:tblGrid>
              <a:tr h="764066">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altLang="en-US" sz="1600" b="0" kern="1200" dirty="0">
                          <a:solidFill>
                            <a:schemeClr val="bg1"/>
                          </a:solidFill>
                          <a:latin typeface="Helvetica Neue Thin" charset="0"/>
                          <a:ea typeface="Helvetica Neue Thin" charset="0"/>
                          <a:cs typeface="Helvetica Neue Thin" charset="0"/>
                        </a:rPr>
                        <a:t>Media &amp; Entertainmen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916963">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altLang="en-US" sz="1600" dirty="0">
                          <a:solidFill>
                            <a:schemeClr val="bg1"/>
                          </a:solidFill>
                          <a:latin typeface="Helvetica Neue Thin" charset="0"/>
                          <a:ea typeface="Helvetica Neue Thin" charset="0"/>
                          <a:cs typeface="Helvetica Neue Thin" charset="0"/>
                        </a:rPr>
                        <a:t>Travel &amp; Transportation</a:t>
                      </a:r>
                      <a:endParaRPr lang="en-US" altLang="en-US" sz="1600" kern="1200" dirty="0">
                        <a:solidFill>
                          <a:schemeClr val="bg1"/>
                        </a:solidFill>
                        <a:latin typeface="Helvetica Neue Thin" charset="0"/>
                        <a:ea typeface="Helvetica Neue Thin" charset="0"/>
                        <a:cs typeface="Helvetica Neue Thin"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91489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altLang="en-US" sz="1600" kern="1200" dirty="0">
                          <a:solidFill>
                            <a:schemeClr val="bg1"/>
                          </a:solidFill>
                          <a:latin typeface="Helvetica Neue Thin" charset="0"/>
                          <a:ea typeface="Helvetica Neue Thin" charset="0"/>
                          <a:cs typeface="Helvetica Neue Thin" charset="0"/>
                        </a:rPr>
                        <a:t>Energy &amp; Utilities</a:t>
                      </a:r>
                    </a:p>
                    <a:p>
                      <a:pPr marL="0" marR="0" indent="0" algn="r" defTabSz="914400" rtl="0" eaLnBrk="1" fontAlgn="auto" latinLnBrk="0" hangingPunct="1">
                        <a:lnSpc>
                          <a:spcPct val="100000"/>
                        </a:lnSpc>
                        <a:spcBef>
                          <a:spcPts val="0"/>
                        </a:spcBef>
                        <a:spcAft>
                          <a:spcPts val="0"/>
                        </a:spcAft>
                        <a:buClrTx/>
                        <a:buSzTx/>
                        <a:buFontTx/>
                        <a:buNone/>
                        <a:tabLst/>
                        <a:defRPr/>
                      </a:pPr>
                      <a:r>
                        <a:rPr lang="en-US" altLang="en-US" sz="1600" kern="1200" dirty="0">
                          <a:solidFill>
                            <a:schemeClr val="bg1"/>
                          </a:solidFill>
                          <a:latin typeface="Helvetica Neue Thin" charset="0"/>
                          <a:ea typeface="Helvetica Neue Thin" charset="0"/>
                          <a:cs typeface="Helvetica Neue Thin" charset="0"/>
                        </a:rPr>
                        <a:t>Oil &amp; Ga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675806">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altLang="en-US" sz="2400" b="1" kern="1200" dirty="0">
                          <a:solidFill>
                            <a:srgbClr val="FFC000"/>
                          </a:solidFill>
                          <a:latin typeface="Helvetica Neue Thin" charset="0"/>
                          <a:ea typeface="Helvetica Neue Thin" charset="0"/>
                          <a:cs typeface="Helvetica Neue Thin" charset="0"/>
                        </a:rPr>
                        <a:t>Agricultur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764066">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altLang="en-US" sz="1600" kern="1200" dirty="0">
                          <a:solidFill>
                            <a:schemeClr val="bg1"/>
                          </a:solidFill>
                          <a:latin typeface="Helvetica Neue Thin" charset="0"/>
                          <a:ea typeface="Helvetica Neue Thin" charset="0"/>
                          <a:cs typeface="Helvetica Neue Thin" charset="0"/>
                        </a:rPr>
                        <a:t>Insurance &amp; Financial Servic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489270">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altLang="en-US" sz="1600" kern="1200" dirty="0">
                          <a:solidFill>
                            <a:schemeClr val="bg1"/>
                          </a:solidFill>
                          <a:latin typeface="Helvetica Neue Thin" charset="0"/>
                          <a:ea typeface="Helvetica Neue Thin" charset="0"/>
                          <a:cs typeface="Helvetica Neue Thin" charset="0"/>
                        </a:rPr>
                        <a:t>Retai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bl>
          </a:graphicData>
        </a:graphic>
      </p:graphicFrame>
      <p:sp>
        <p:nvSpPr>
          <p:cNvPr id="30" name="TextBox 29"/>
          <p:cNvSpPr txBox="1"/>
          <p:nvPr/>
        </p:nvSpPr>
        <p:spPr>
          <a:xfrm rot="2931579">
            <a:off x="3064262" y="2123214"/>
            <a:ext cx="2217274" cy="584775"/>
          </a:xfrm>
          <a:prstGeom prst="rect">
            <a:avLst/>
          </a:prstGeom>
          <a:noFill/>
        </p:spPr>
        <p:txBody>
          <a:bodyPr wrap="none" rtlCol="0">
            <a:spAutoFit/>
          </a:bodyPr>
          <a:lstStyle/>
          <a:p>
            <a:r>
              <a:rPr lang="en-US" sz="3200" dirty="0">
                <a:solidFill>
                  <a:schemeClr val="accent1">
                    <a:lumMod val="60000"/>
                    <a:lumOff val="40000"/>
                    <a:alpha val="39000"/>
                  </a:schemeClr>
                </a:solidFill>
                <a:latin typeface="Helvetica Neue Thin" charset="0"/>
                <a:ea typeface="Helvetica Neue Thin" charset="0"/>
                <a:cs typeface="Helvetica Neue Thin" charset="0"/>
              </a:rPr>
              <a:t>DECISIONS</a:t>
            </a:r>
          </a:p>
        </p:txBody>
      </p:sp>
      <p:pic>
        <p:nvPicPr>
          <p:cNvPr id="32" name="Picture 3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484112" y="2922410"/>
            <a:ext cx="345090" cy="345090"/>
          </a:xfrm>
          <a:prstGeom prst="rect">
            <a:avLst/>
          </a:prstGeom>
        </p:spPr>
      </p:pic>
      <p:pic>
        <p:nvPicPr>
          <p:cNvPr id="34" name="Picture 6" descr="http://www.energyskillsscotland.co.uk/media/389322/electricity-icon.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492211" y="2190750"/>
            <a:ext cx="364104" cy="36410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6837124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15"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5608" name="think-cell Slide" r:id="rId5" imgW="270" imgH="270" progId="TCLayout.ActiveDocument.1">
                  <p:embed/>
                </p:oleObj>
              </mc:Choice>
              <mc:Fallback>
                <p:oleObj name="think-cell Slide" r:id="rId5" imgW="270" imgH="270" progId="TCLayout.ActiveDocument.1">
                  <p:embed/>
                  <p:pic>
                    <p:nvPicPr>
                      <p:cNvPr id="15362"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ight Arrow 14"/>
          <p:cNvSpPr/>
          <p:nvPr/>
        </p:nvSpPr>
        <p:spPr bwMode="auto">
          <a:xfrm>
            <a:off x="2382442" y="1949054"/>
            <a:ext cx="726281" cy="1293019"/>
          </a:xfrm>
          <a:prstGeom prst="rightArrow">
            <a:avLst/>
          </a:prstGeom>
          <a:solidFill>
            <a:schemeClr val="bg1">
              <a:lumMod val="65000"/>
              <a:alpha val="29000"/>
            </a:schemeClr>
          </a:solidFill>
          <a:ln w="9525" cap="flat" cmpd="sng" algn="ctr">
            <a:noFill/>
            <a:prstDash val="solid"/>
            <a:round/>
            <a:headEnd type="none" w="med" len="med"/>
            <a:tailEnd type="none" w="med" len="med"/>
          </a:ln>
          <a:effectLst/>
        </p:spPr>
        <p:txBody>
          <a:bodyPr lIns="68564" tIns="34282" rIns="68564" bIns="34282"/>
          <a:lstStyle/>
          <a:p>
            <a:pPr algn="ctr" defTabSz="685620" eaLnBrk="0" fontAlgn="base" hangingPunct="0">
              <a:spcBef>
                <a:spcPct val="0"/>
              </a:spcBef>
              <a:spcAft>
                <a:spcPct val="0"/>
              </a:spcAft>
              <a:defRPr/>
            </a:pPr>
            <a:endParaRPr lang="en-US" sz="812" dirty="0">
              <a:solidFill>
                <a:srgbClr val="004266"/>
              </a:solidFill>
              <a:latin typeface="Arial" panose="020B0604020202020204" pitchFamily="34" charset="0"/>
              <a:ea typeface="MS PGothic" panose="020B0600070205080204" pitchFamily="34" charset="-128"/>
              <a:cs typeface="Arial"/>
            </a:endParaRPr>
          </a:p>
        </p:txBody>
      </p:sp>
      <p:sp>
        <p:nvSpPr>
          <p:cNvPr id="2" name="Title 1"/>
          <p:cNvSpPr>
            <a:spLocks noGrp="1"/>
          </p:cNvSpPr>
          <p:nvPr>
            <p:ph type="title"/>
          </p:nvPr>
        </p:nvSpPr>
        <p:spPr>
          <a:xfrm>
            <a:off x="314325" y="448867"/>
            <a:ext cx="8229600" cy="353615"/>
          </a:xfrm>
          <a:ln>
            <a:miter lim="800000"/>
            <a:headEnd/>
            <a:tailEnd/>
          </a:ln>
        </p:spPr>
        <p:txBody>
          <a:bodyPr/>
          <a:lstStyle/>
          <a:p>
            <a:pPr lvl="1">
              <a:lnSpc>
                <a:spcPct val="90000"/>
              </a:lnSpc>
              <a:defRPr/>
            </a:pPr>
            <a:r>
              <a:rPr kumimoji="1" lang="en-US" sz="1600" b="0" kern="1200" dirty="0">
                <a:solidFill>
                  <a:schemeClr val="bg2"/>
                </a:solidFill>
                <a:latin typeface="Calibri" panose="020F0502020204030204" pitchFamily="34" charset="0"/>
                <a:ea typeface="MS PGothic" pitchFamily="34" charset="-128"/>
                <a:cs typeface="HelvNeue Light for IBM"/>
              </a:rPr>
              <a:t>Agronomic business advisor for deep agricultural insights</a:t>
            </a:r>
          </a:p>
        </p:txBody>
      </p:sp>
      <p:sp>
        <p:nvSpPr>
          <p:cNvPr id="10" name="Rectangle 9"/>
          <p:cNvSpPr/>
          <p:nvPr/>
        </p:nvSpPr>
        <p:spPr bwMode="auto">
          <a:xfrm>
            <a:off x="377428" y="879873"/>
            <a:ext cx="2127647" cy="3431381"/>
          </a:xfrm>
          <a:prstGeom prst="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lIns="68564" tIns="34282" rIns="68564" bIns="34282"/>
          <a:lstStyle/>
          <a:p>
            <a:pPr algn="ctr" defTabSz="685620" eaLnBrk="0" fontAlgn="base" hangingPunct="0">
              <a:spcBef>
                <a:spcPct val="0"/>
              </a:spcBef>
              <a:spcAft>
                <a:spcPct val="0"/>
              </a:spcAft>
              <a:defRPr/>
            </a:pPr>
            <a:endParaRPr lang="en-US" sz="812" dirty="0">
              <a:solidFill>
                <a:srgbClr val="004266"/>
              </a:solidFill>
              <a:latin typeface="Arial" panose="020B0604020202020204" pitchFamily="34" charset="0"/>
              <a:ea typeface="MS PGothic" panose="020B0600070205080204" pitchFamily="34" charset="-128"/>
              <a:cs typeface="Arial"/>
            </a:endParaRPr>
          </a:p>
        </p:txBody>
      </p:sp>
      <p:sp>
        <p:nvSpPr>
          <p:cNvPr id="3" name="TextBox 2"/>
          <p:cNvSpPr txBox="1"/>
          <p:nvPr/>
        </p:nvSpPr>
        <p:spPr>
          <a:xfrm>
            <a:off x="444104" y="1320404"/>
            <a:ext cx="977503" cy="269304"/>
          </a:xfrm>
          <a:prstGeom prst="rect">
            <a:avLst/>
          </a:prstGeom>
          <a:noFill/>
        </p:spPr>
        <p:txBody>
          <a:bodyPr lIns="0" tIns="0" rIns="0" bIns="0">
            <a:spAutoFit/>
          </a:bodyPr>
          <a:lstStyle/>
          <a:p>
            <a:pPr algn="ctr" defTabSz="454748" eaLnBrk="0" hangingPunct="0">
              <a:defRPr/>
            </a:pPr>
            <a:r>
              <a:rPr lang="en-US" sz="875" b="1" dirty="0">
                <a:solidFill>
                  <a:srgbClr val="808080"/>
                </a:solidFill>
                <a:latin typeface="Arial"/>
                <a:ea typeface="MS PGothic" panose="020B0600070205080204" pitchFamily="34" charset="-128"/>
                <a:cs typeface="Arial"/>
              </a:rPr>
              <a:t>Fertilizer Application</a:t>
            </a:r>
          </a:p>
        </p:txBody>
      </p:sp>
      <p:sp>
        <p:nvSpPr>
          <p:cNvPr id="99" name="TextBox 98"/>
          <p:cNvSpPr txBox="1"/>
          <p:nvPr/>
        </p:nvSpPr>
        <p:spPr>
          <a:xfrm>
            <a:off x="1475185" y="1320404"/>
            <a:ext cx="976313" cy="269304"/>
          </a:xfrm>
          <a:prstGeom prst="rect">
            <a:avLst/>
          </a:prstGeom>
          <a:noFill/>
        </p:spPr>
        <p:txBody>
          <a:bodyPr lIns="0" tIns="0" rIns="0" bIns="0">
            <a:spAutoFit/>
          </a:bodyPr>
          <a:lstStyle/>
          <a:p>
            <a:pPr algn="ctr" defTabSz="454748" eaLnBrk="0" hangingPunct="0">
              <a:defRPr/>
            </a:pPr>
            <a:r>
              <a:rPr lang="en-US" sz="875" b="1" dirty="0">
                <a:solidFill>
                  <a:srgbClr val="808080"/>
                </a:solidFill>
                <a:latin typeface="Arial"/>
                <a:ea typeface="MS PGothic" panose="020B0600070205080204" pitchFamily="34" charset="-128"/>
                <a:cs typeface="Arial"/>
              </a:rPr>
              <a:t>Precision Irrigation</a:t>
            </a:r>
          </a:p>
        </p:txBody>
      </p:sp>
      <p:sp>
        <p:nvSpPr>
          <p:cNvPr id="137" name="TextBox 136"/>
          <p:cNvSpPr txBox="1"/>
          <p:nvPr/>
        </p:nvSpPr>
        <p:spPr>
          <a:xfrm>
            <a:off x="444104" y="2009775"/>
            <a:ext cx="977503" cy="269304"/>
          </a:xfrm>
          <a:prstGeom prst="rect">
            <a:avLst/>
          </a:prstGeom>
          <a:noFill/>
        </p:spPr>
        <p:txBody>
          <a:bodyPr lIns="0" tIns="0" rIns="0" bIns="0">
            <a:spAutoFit/>
          </a:bodyPr>
          <a:lstStyle/>
          <a:p>
            <a:pPr algn="ctr" defTabSz="454748" eaLnBrk="0" hangingPunct="0">
              <a:defRPr/>
            </a:pPr>
            <a:r>
              <a:rPr lang="en-US" sz="875" b="1" dirty="0">
                <a:solidFill>
                  <a:srgbClr val="808080"/>
                </a:solidFill>
                <a:latin typeface="Arial"/>
                <a:ea typeface="MS PGothic" panose="020B0600070205080204" pitchFamily="34" charset="-128"/>
                <a:cs typeface="Arial"/>
              </a:rPr>
              <a:t>Crop Disease Identification</a:t>
            </a:r>
          </a:p>
        </p:txBody>
      </p:sp>
      <p:sp>
        <p:nvSpPr>
          <p:cNvPr id="139" name="TextBox 138"/>
          <p:cNvSpPr txBox="1"/>
          <p:nvPr/>
        </p:nvSpPr>
        <p:spPr>
          <a:xfrm>
            <a:off x="1475185" y="2009775"/>
            <a:ext cx="976313" cy="269304"/>
          </a:xfrm>
          <a:prstGeom prst="rect">
            <a:avLst/>
          </a:prstGeom>
          <a:noFill/>
        </p:spPr>
        <p:txBody>
          <a:bodyPr lIns="0" tIns="0" rIns="0" bIns="0">
            <a:spAutoFit/>
          </a:bodyPr>
          <a:lstStyle/>
          <a:p>
            <a:pPr algn="ctr" defTabSz="454748" eaLnBrk="0" hangingPunct="0">
              <a:defRPr/>
            </a:pPr>
            <a:r>
              <a:rPr lang="en-US" sz="875" b="1" dirty="0">
                <a:solidFill>
                  <a:srgbClr val="808080"/>
                </a:solidFill>
                <a:latin typeface="Arial"/>
                <a:ea typeface="MS PGothic" panose="020B0600070205080204" pitchFamily="34" charset="-128"/>
                <a:cs typeface="Arial"/>
              </a:rPr>
              <a:t>Sensor Integration</a:t>
            </a:r>
          </a:p>
        </p:txBody>
      </p:sp>
      <p:sp>
        <p:nvSpPr>
          <p:cNvPr id="12" name="TextBox 11"/>
          <p:cNvSpPr txBox="1"/>
          <p:nvPr/>
        </p:nvSpPr>
        <p:spPr>
          <a:xfrm>
            <a:off x="339328" y="964407"/>
            <a:ext cx="2165747" cy="253900"/>
          </a:xfrm>
          <a:prstGeom prst="rect">
            <a:avLst/>
          </a:prstGeom>
          <a:noFill/>
        </p:spPr>
        <p:txBody>
          <a:bodyPr lIns="68564" tIns="34282" rIns="68564" bIns="34282">
            <a:spAutoFit/>
          </a:bodyPr>
          <a:lstStyle/>
          <a:p>
            <a:pPr algn="ctr" defTabSz="454748" eaLnBrk="0" hangingPunct="0">
              <a:defRPr/>
            </a:pPr>
            <a:r>
              <a:rPr lang="en-US" sz="1200" b="1" dirty="0">
                <a:solidFill>
                  <a:srgbClr val="BFD1F5">
                    <a:lumMod val="75000"/>
                  </a:srgbClr>
                </a:solidFill>
                <a:latin typeface="Arial"/>
                <a:ea typeface="MS PGothic" panose="020B0600070205080204" pitchFamily="34" charset="-128"/>
                <a:cs typeface="Arial"/>
              </a:rPr>
              <a:t>Use Cases</a:t>
            </a:r>
          </a:p>
        </p:txBody>
      </p:sp>
      <p:sp>
        <p:nvSpPr>
          <p:cNvPr id="95" name="TextBox 94"/>
          <p:cNvSpPr txBox="1"/>
          <p:nvPr/>
        </p:nvSpPr>
        <p:spPr>
          <a:xfrm>
            <a:off x="377428" y="2759869"/>
            <a:ext cx="2127647" cy="253900"/>
          </a:xfrm>
          <a:prstGeom prst="rect">
            <a:avLst/>
          </a:prstGeom>
          <a:noFill/>
        </p:spPr>
        <p:txBody>
          <a:bodyPr lIns="68564" tIns="34282" rIns="68564" bIns="34282">
            <a:spAutoFit/>
          </a:bodyPr>
          <a:lstStyle/>
          <a:p>
            <a:pPr algn="ctr" defTabSz="454748" eaLnBrk="0" hangingPunct="0">
              <a:defRPr/>
            </a:pPr>
            <a:r>
              <a:rPr lang="en-US" sz="1200" b="1" dirty="0">
                <a:solidFill>
                  <a:srgbClr val="BFD1F5">
                    <a:lumMod val="75000"/>
                  </a:srgbClr>
                </a:solidFill>
                <a:latin typeface="Arial"/>
                <a:ea typeface="MS PGothic" panose="020B0600070205080204" pitchFamily="34" charset="-128"/>
                <a:cs typeface="Arial"/>
              </a:rPr>
              <a:t>Innovations</a:t>
            </a:r>
          </a:p>
        </p:txBody>
      </p:sp>
      <p:sp>
        <p:nvSpPr>
          <p:cNvPr id="58" name="TextBox 57"/>
          <p:cNvSpPr txBox="1"/>
          <p:nvPr/>
        </p:nvSpPr>
        <p:spPr>
          <a:xfrm>
            <a:off x="444103" y="3074194"/>
            <a:ext cx="976313" cy="134652"/>
          </a:xfrm>
          <a:prstGeom prst="rect">
            <a:avLst/>
          </a:prstGeom>
          <a:noFill/>
        </p:spPr>
        <p:txBody>
          <a:bodyPr lIns="0" tIns="0" rIns="0" bIns="0">
            <a:spAutoFit/>
          </a:bodyPr>
          <a:lstStyle/>
          <a:p>
            <a:pPr algn="ctr" defTabSz="454748" eaLnBrk="0" hangingPunct="0">
              <a:defRPr/>
            </a:pPr>
            <a:r>
              <a:rPr lang="en-US" sz="875" b="1" dirty="0">
                <a:solidFill>
                  <a:srgbClr val="808080"/>
                </a:solidFill>
                <a:latin typeface="Arial"/>
                <a:ea typeface="MS PGothic" panose="020B0600070205080204" pitchFamily="34" charset="-128"/>
                <a:cs typeface="Arial"/>
              </a:rPr>
              <a:t>Satellite Imagery</a:t>
            </a:r>
          </a:p>
        </p:txBody>
      </p:sp>
      <p:sp>
        <p:nvSpPr>
          <p:cNvPr id="71" name="TextBox 70"/>
          <p:cNvSpPr txBox="1"/>
          <p:nvPr/>
        </p:nvSpPr>
        <p:spPr>
          <a:xfrm>
            <a:off x="1473994" y="3074194"/>
            <a:ext cx="977504" cy="134652"/>
          </a:xfrm>
          <a:prstGeom prst="rect">
            <a:avLst/>
          </a:prstGeom>
          <a:noFill/>
        </p:spPr>
        <p:txBody>
          <a:bodyPr lIns="0" tIns="0" rIns="0" bIns="0">
            <a:spAutoFit/>
          </a:bodyPr>
          <a:lstStyle/>
          <a:p>
            <a:pPr algn="ctr" defTabSz="454748" eaLnBrk="0" hangingPunct="0">
              <a:defRPr/>
            </a:pPr>
            <a:r>
              <a:rPr lang="en-US" sz="875" b="1" dirty="0">
                <a:solidFill>
                  <a:srgbClr val="808080"/>
                </a:solidFill>
                <a:latin typeface="Arial"/>
                <a:ea typeface="MS PGothic" panose="020B0600070205080204" pitchFamily="34" charset="-128"/>
                <a:cs typeface="Arial"/>
              </a:rPr>
              <a:t>Vegetation Index</a:t>
            </a:r>
          </a:p>
        </p:txBody>
      </p:sp>
      <p:sp>
        <p:nvSpPr>
          <p:cNvPr id="72" name="TextBox 71"/>
          <p:cNvSpPr txBox="1"/>
          <p:nvPr/>
        </p:nvSpPr>
        <p:spPr>
          <a:xfrm>
            <a:off x="1473994" y="3655219"/>
            <a:ext cx="977504" cy="269304"/>
          </a:xfrm>
          <a:prstGeom prst="rect">
            <a:avLst/>
          </a:prstGeom>
          <a:noFill/>
        </p:spPr>
        <p:txBody>
          <a:bodyPr lIns="0" tIns="0" rIns="0" bIns="0">
            <a:spAutoFit/>
          </a:bodyPr>
          <a:lstStyle/>
          <a:p>
            <a:pPr algn="ctr" defTabSz="454748" eaLnBrk="0" hangingPunct="0">
              <a:defRPr/>
            </a:pPr>
            <a:r>
              <a:rPr lang="en-US" sz="875" b="1" dirty="0">
                <a:solidFill>
                  <a:srgbClr val="808080"/>
                </a:solidFill>
                <a:latin typeface="Arial"/>
                <a:ea typeface="MS PGothic" panose="020B0600070205080204" pitchFamily="34" charset="-128"/>
                <a:cs typeface="Arial"/>
              </a:rPr>
              <a:t>Predictive Weather Analytics</a:t>
            </a:r>
          </a:p>
        </p:txBody>
      </p:sp>
      <p:sp>
        <p:nvSpPr>
          <p:cNvPr id="48" name="TextBox 47"/>
          <p:cNvSpPr txBox="1"/>
          <p:nvPr/>
        </p:nvSpPr>
        <p:spPr>
          <a:xfrm>
            <a:off x="444103" y="3655219"/>
            <a:ext cx="976313" cy="269304"/>
          </a:xfrm>
          <a:prstGeom prst="rect">
            <a:avLst/>
          </a:prstGeom>
          <a:noFill/>
        </p:spPr>
        <p:txBody>
          <a:bodyPr lIns="0" tIns="0" rIns="0" bIns="0">
            <a:spAutoFit/>
          </a:bodyPr>
          <a:lstStyle/>
          <a:p>
            <a:pPr algn="ctr" defTabSz="685800" eaLnBrk="0" fontAlgn="base" hangingPunct="0">
              <a:spcBef>
                <a:spcPct val="0"/>
              </a:spcBef>
              <a:spcAft>
                <a:spcPct val="0"/>
              </a:spcAft>
              <a:defRPr/>
            </a:pPr>
            <a:r>
              <a:rPr kumimoji="1" lang="en-US" sz="875" b="1" dirty="0">
                <a:solidFill>
                  <a:srgbClr val="808080"/>
                </a:solidFill>
                <a:latin typeface="Arial" charset="0"/>
                <a:ea typeface="ＭＳ Ｐゴシック" charset="-128"/>
                <a:cs typeface="Arial"/>
              </a:rPr>
              <a:t>Soil Moisture Technology</a:t>
            </a:r>
          </a:p>
        </p:txBody>
      </p:sp>
      <p:pic>
        <p:nvPicPr>
          <p:cNvPr id="39938" name="Picture 2" descr="https://cdn2.iconfinder.com/data/icons/agriculture-1/512/fertilizer-512.png"/>
          <p:cNvPicPr>
            <a:picLocks noChangeAspect="1" noChangeArrowheads="1"/>
          </p:cNvPicPr>
          <p:nvPr/>
        </p:nvPicPr>
        <p:blipFill>
          <a:blip r:embed="rId7"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93359" y="1641967"/>
            <a:ext cx="278993" cy="278993"/>
          </a:xfrm>
          <a:prstGeom prst="rect">
            <a:avLst/>
          </a:prstGeom>
          <a:noFill/>
          <a:extLst>
            <a:ext uri="{909E8E84-426E-40DD-AFC4-6F175D3DCCD1}">
              <a14:hiddenFill xmlns:a14="http://schemas.microsoft.com/office/drawing/2010/main">
                <a:solidFill>
                  <a:srgbClr val="FFFFFF"/>
                </a:solidFill>
              </a14:hiddenFill>
            </a:ext>
          </a:extLst>
        </p:spPr>
      </p:pic>
      <p:pic>
        <p:nvPicPr>
          <p:cNvPr id="39940" name="Picture 4" descr="https://image.freepik.com/free-icon/plant-growing_318-41723.png"/>
          <p:cNvPicPr>
            <a:picLocks noChangeAspect="1" noChangeArrowheads="1"/>
          </p:cNvPicPr>
          <p:nvPr/>
        </p:nvPicPr>
        <p:blipFill>
          <a:blip r:embed="rId8" cstate="email">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04713" y="2350279"/>
            <a:ext cx="256283" cy="256283"/>
          </a:xfrm>
          <a:prstGeom prst="rect">
            <a:avLst/>
          </a:prstGeom>
          <a:noFill/>
          <a:extLst>
            <a:ext uri="{909E8E84-426E-40DD-AFC4-6F175D3DCCD1}">
              <a14:hiddenFill xmlns:a14="http://schemas.microsoft.com/office/drawing/2010/main">
                <a:solidFill>
                  <a:srgbClr val="FFFFFF"/>
                </a:solidFill>
              </a14:hiddenFill>
            </a:ext>
          </a:extLst>
        </p:spPr>
      </p:pic>
      <p:pic>
        <p:nvPicPr>
          <p:cNvPr id="39944" name="Picture 8" descr="https://lh4.ggpht.com/YJG3imsUpciuVmQG-BeLluD_bURZA8-NNubcrKR2UtGRdGEpfvUlrs2aLNftwNtof_tt=h900"/>
          <p:cNvPicPr>
            <a:picLocks noChangeAspect="1" noChangeArrowheads="1"/>
          </p:cNvPicPr>
          <p:nvPr/>
        </p:nvPicPr>
        <p:blipFill>
          <a:blip r:embed="rId9"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823845" y="2325939"/>
            <a:ext cx="278993" cy="278993"/>
          </a:xfrm>
          <a:prstGeom prst="rect">
            <a:avLst/>
          </a:prstGeom>
          <a:noFill/>
          <a:extLst>
            <a:ext uri="{909E8E84-426E-40DD-AFC4-6F175D3DCCD1}">
              <a14:hiddenFill xmlns:a14="http://schemas.microsoft.com/office/drawing/2010/main">
                <a:solidFill>
                  <a:srgbClr val="FFFFFF"/>
                </a:solidFill>
              </a14:hiddenFill>
            </a:ext>
          </a:extLst>
        </p:spPr>
      </p:pic>
      <p:pic>
        <p:nvPicPr>
          <p:cNvPr id="39946" name="Picture 10" descr="https://cdn1.iconfinder.com/data/icons/water-2/500/cannel-512.png"/>
          <p:cNvPicPr>
            <a:picLocks noChangeAspect="1" noChangeArrowheads="1"/>
          </p:cNvPicPr>
          <p:nvPr/>
        </p:nvPicPr>
        <p:blipFill>
          <a:blip r:embed="rId10"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759103" y="1574336"/>
            <a:ext cx="408474" cy="408474"/>
          </a:xfrm>
          <a:prstGeom prst="rect">
            <a:avLst/>
          </a:prstGeom>
          <a:noFill/>
          <a:extLst>
            <a:ext uri="{909E8E84-426E-40DD-AFC4-6F175D3DCCD1}">
              <a14:hiddenFill xmlns:a14="http://schemas.microsoft.com/office/drawing/2010/main">
                <a:solidFill>
                  <a:srgbClr val="FFFFFF"/>
                </a:solidFill>
              </a14:hiddenFill>
            </a:ext>
          </a:extLst>
        </p:spPr>
      </p:pic>
      <p:pic>
        <p:nvPicPr>
          <p:cNvPr id="39949" name="Picture 13" descr="https://upload.wikimedia.org/wikipedia/commons/thumb/2/27/FP_Satellite_icon.svg/2000px-FP_Satellite_icon.svg.png"/>
          <p:cNvPicPr>
            <a:picLocks noChangeAspect="1" noChangeArrowheads="1"/>
          </p:cNvPicPr>
          <p:nvPr/>
        </p:nvPicPr>
        <p:blipFill>
          <a:blip r:embed="rId11"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75014" y="3242554"/>
            <a:ext cx="315681" cy="315681"/>
          </a:xfrm>
          <a:prstGeom prst="rect">
            <a:avLst/>
          </a:prstGeom>
          <a:noFill/>
          <a:extLst>
            <a:ext uri="{909E8E84-426E-40DD-AFC4-6F175D3DCCD1}">
              <a14:hiddenFill xmlns:a14="http://schemas.microsoft.com/office/drawing/2010/main">
                <a:solidFill>
                  <a:srgbClr val="FFFFFF"/>
                </a:solidFill>
              </a14:hiddenFill>
            </a:ext>
          </a:extLst>
        </p:spPr>
      </p:pic>
      <p:pic>
        <p:nvPicPr>
          <p:cNvPr id="39951" name="Picture 15" descr="https://cdn0.iconfinder.com/data/icons/green-sustainability/96/tree_3-512.png"/>
          <p:cNvPicPr>
            <a:picLocks noChangeAspect="1" noChangeArrowheads="1"/>
          </p:cNvPicPr>
          <p:nvPr/>
        </p:nvPicPr>
        <p:blipFill>
          <a:blip r:embed="rId12"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809894" y="3242554"/>
            <a:ext cx="306893" cy="306893"/>
          </a:xfrm>
          <a:prstGeom prst="rect">
            <a:avLst/>
          </a:prstGeom>
          <a:noFill/>
          <a:extLst>
            <a:ext uri="{909E8E84-426E-40DD-AFC4-6F175D3DCCD1}">
              <a14:hiddenFill xmlns:a14="http://schemas.microsoft.com/office/drawing/2010/main">
                <a:solidFill>
                  <a:srgbClr val="FFFFFF"/>
                </a:solidFill>
              </a14:hiddenFill>
            </a:ext>
          </a:extLst>
        </p:spPr>
      </p:pic>
      <p:pic>
        <p:nvPicPr>
          <p:cNvPr id="39953" name="Picture 17" descr="https://cdn0.iconfinder.com/data/icons/garden-an-icon/164/8-512.png"/>
          <p:cNvPicPr>
            <a:picLocks noChangeAspect="1" noChangeArrowheads="1"/>
          </p:cNvPicPr>
          <p:nvPr/>
        </p:nvPicPr>
        <p:blipFill>
          <a:blip r:embed="rId13"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93359" y="3954161"/>
            <a:ext cx="278993" cy="278993"/>
          </a:xfrm>
          <a:prstGeom prst="rect">
            <a:avLst/>
          </a:prstGeom>
          <a:noFill/>
          <a:extLst>
            <a:ext uri="{909E8E84-426E-40DD-AFC4-6F175D3DCCD1}">
              <a14:hiddenFill xmlns:a14="http://schemas.microsoft.com/office/drawing/2010/main">
                <a:solidFill>
                  <a:srgbClr val="FFFFFF"/>
                </a:solidFill>
              </a14:hiddenFill>
            </a:ext>
          </a:extLst>
        </p:spPr>
      </p:pic>
      <p:pic>
        <p:nvPicPr>
          <p:cNvPr id="39955" name="Picture 19" descr="http://www.iconsdb.com/icons/preview/black/partly-cloudy-day-xxl.png"/>
          <p:cNvPicPr>
            <a:picLocks noChangeAspect="1" noChangeArrowheads="1"/>
          </p:cNvPicPr>
          <p:nvPr/>
        </p:nvPicPr>
        <p:blipFill>
          <a:blip r:embed="rId14"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798877" y="3925101"/>
            <a:ext cx="328926" cy="328926"/>
          </a:xfrm>
          <a:prstGeom prst="rect">
            <a:avLst/>
          </a:prstGeom>
          <a:noFill/>
          <a:extLst>
            <a:ext uri="{909E8E84-426E-40DD-AFC4-6F175D3DCCD1}">
              <a14:hiddenFill xmlns:a14="http://schemas.microsoft.com/office/drawing/2010/main">
                <a:solidFill>
                  <a:srgbClr val="FFFFFF"/>
                </a:solidFill>
              </a14:hiddenFill>
            </a:ext>
          </a:extLst>
        </p:spPr>
      </p:pic>
      <p:pic>
        <p:nvPicPr>
          <p:cNvPr id="15384" name="Picture 4"/>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3168254" y="1021557"/>
            <a:ext cx="1676400" cy="1092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85" name="Picture 41"/>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3213497" y="2443163"/>
            <a:ext cx="1585913"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86" name="Picture 2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162675" y="1085851"/>
            <a:ext cx="1571625" cy="9644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387" name="Picture 23"/>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149578" y="2444354"/>
            <a:ext cx="1584722" cy="933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388" name="TextBox 6"/>
          <p:cNvSpPr txBox="1">
            <a:spLocks noChangeArrowheads="1"/>
          </p:cNvSpPr>
          <p:nvPr/>
        </p:nvSpPr>
        <p:spPr bwMode="auto">
          <a:xfrm>
            <a:off x="3226594" y="947738"/>
            <a:ext cx="1413849"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defTabSz="685800" eaLnBrk="0" fontAlgn="base" hangingPunct="0">
              <a:spcBef>
                <a:spcPct val="0"/>
              </a:spcBef>
              <a:spcAft>
                <a:spcPct val="0"/>
              </a:spcAft>
            </a:pPr>
            <a:r>
              <a:rPr lang="en-US" altLang="en-US" sz="750" b="1">
                <a:solidFill>
                  <a:srgbClr val="0D1F69"/>
                </a:solidFill>
                <a:cs typeface="Arial"/>
              </a:rPr>
              <a:t>Precision Fertilizer Application</a:t>
            </a:r>
          </a:p>
        </p:txBody>
      </p:sp>
      <p:sp>
        <p:nvSpPr>
          <p:cNvPr id="8" name="Rectangle 7"/>
          <p:cNvSpPr/>
          <p:nvPr/>
        </p:nvSpPr>
        <p:spPr>
          <a:xfrm>
            <a:off x="4777978" y="1034654"/>
            <a:ext cx="1300163" cy="1234953"/>
          </a:xfrm>
          <a:prstGeom prst="rect">
            <a:avLst/>
          </a:prstGeom>
        </p:spPr>
        <p:txBody>
          <a:bodyPr>
            <a:spAutoFit/>
          </a:bodyPr>
          <a:lstStyle/>
          <a:p>
            <a:pPr marL="128588" indent="-128588" defTabSz="685800">
              <a:buFont typeface="Arial" panose="020B0604020202020204" pitchFamily="34" charset="0"/>
              <a:buChar char="•"/>
              <a:defRPr/>
            </a:pPr>
            <a:r>
              <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rPr>
              <a:t>Fertilizer requirements based on soil card information </a:t>
            </a:r>
          </a:p>
          <a:p>
            <a:pPr defTabSz="685800">
              <a:defRPr/>
            </a:pPr>
            <a:endPar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endParaRPr>
          </a:p>
          <a:p>
            <a:pPr marL="128588" indent="-128588" defTabSz="685800">
              <a:buFont typeface="Arial" panose="020B0604020202020204" pitchFamily="34" charset="0"/>
              <a:buChar char="•"/>
              <a:defRPr/>
            </a:pPr>
            <a:r>
              <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rPr>
              <a:t>GIS mapping of various crops and soil types</a:t>
            </a:r>
          </a:p>
          <a:p>
            <a:pPr defTabSz="685800">
              <a:defRPr/>
            </a:pPr>
            <a:endPar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endParaRPr>
          </a:p>
          <a:p>
            <a:pPr marL="128588" indent="-128588" defTabSz="685800">
              <a:buFont typeface="Arial" panose="020B0604020202020204" pitchFamily="34" charset="0"/>
              <a:buChar char="•"/>
              <a:defRPr/>
            </a:pPr>
            <a:r>
              <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rPr>
              <a:t>Analysis of fertilizer required at regional areas </a:t>
            </a:r>
          </a:p>
          <a:p>
            <a:pPr defTabSz="685800">
              <a:defRPr/>
            </a:pPr>
            <a:endPar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endParaRPr>
          </a:p>
          <a:p>
            <a:pPr marL="128588" indent="-128588" defTabSz="685800">
              <a:buFont typeface="Arial" panose="020B0604020202020204" pitchFamily="34" charset="0"/>
              <a:buChar char="•"/>
              <a:defRPr/>
            </a:pPr>
            <a:r>
              <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rPr>
              <a:t>Predictions and analysis </a:t>
            </a:r>
          </a:p>
        </p:txBody>
      </p:sp>
      <p:sp>
        <p:nvSpPr>
          <p:cNvPr id="15390" name="TextBox 88"/>
          <p:cNvSpPr txBox="1">
            <a:spLocks noChangeArrowheads="1"/>
          </p:cNvSpPr>
          <p:nvPr/>
        </p:nvSpPr>
        <p:spPr bwMode="auto">
          <a:xfrm>
            <a:off x="3213497" y="2288381"/>
            <a:ext cx="1155766"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defTabSz="685800" eaLnBrk="0" fontAlgn="base" hangingPunct="0">
              <a:spcBef>
                <a:spcPct val="0"/>
              </a:spcBef>
              <a:spcAft>
                <a:spcPct val="0"/>
              </a:spcAft>
            </a:pPr>
            <a:r>
              <a:rPr lang="en-US" altLang="en-US" sz="750" b="1">
                <a:solidFill>
                  <a:srgbClr val="0D1F69"/>
                </a:solidFill>
                <a:cs typeface="Arial"/>
              </a:rPr>
              <a:t>Recommendation Engine</a:t>
            </a:r>
          </a:p>
        </p:txBody>
      </p:sp>
      <p:sp>
        <p:nvSpPr>
          <p:cNvPr id="90" name="Rectangle 89"/>
          <p:cNvSpPr/>
          <p:nvPr/>
        </p:nvSpPr>
        <p:spPr>
          <a:xfrm>
            <a:off x="4777979" y="2347912"/>
            <a:ext cx="1371600" cy="1338828"/>
          </a:xfrm>
          <a:prstGeom prst="rect">
            <a:avLst/>
          </a:prstGeom>
        </p:spPr>
        <p:txBody>
          <a:bodyPr>
            <a:spAutoFit/>
          </a:bodyPr>
          <a:lstStyle/>
          <a:p>
            <a:pPr marL="128588" indent="-128588" defTabSz="685800">
              <a:buFont typeface="Arial" panose="020B0604020202020204" pitchFamily="34" charset="0"/>
              <a:buChar char="•"/>
              <a:defRPr/>
            </a:pPr>
            <a:r>
              <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rPr>
              <a:t>Suggest best time for planting</a:t>
            </a:r>
          </a:p>
          <a:p>
            <a:pPr defTabSz="685800">
              <a:defRPr/>
            </a:pPr>
            <a:endPar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endParaRPr>
          </a:p>
          <a:p>
            <a:pPr marL="128588" indent="-128588" defTabSz="685800">
              <a:buFont typeface="Arial" panose="020B0604020202020204" pitchFamily="34" charset="0"/>
              <a:buChar char="•"/>
              <a:defRPr/>
            </a:pPr>
            <a:r>
              <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rPr>
              <a:t>Align crop profile with weather profile</a:t>
            </a:r>
          </a:p>
          <a:p>
            <a:pPr defTabSz="685800">
              <a:defRPr/>
            </a:pPr>
            <a:endPar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endParaRPr>
          </a:p>
          <a:p>
            <a:pPr marL="128588" indent="-128588" defTabSz="685800">
              <a:buFont typeface="Arial" panose="020B0604020202020204" pitchFamily="34" charset="0"/>
              <a:buChar char="•"/>
              <a:defRPr/>
            </a:pPr>
            <a:r>
              <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rPr>
              <a:t>Short and long term forecasts</a:t>
            </a:r>
          </a:p>
          <a:p>
            <a:pPr defTabSz="685800">
              <a:defRPr/>
            </a:pPr>
            <a:endPar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endParaRPr>
          </a:p>
          <a:p>
            <a:pPr marL="128588" indent="-128588" defTabSz="685800">
              <a:buFont typeface="Arial" panose="020B0604020202020204" pitchFamily="34" charset="0"/>
              <a:buChar char="•"/>
              <a:defRPr/>
            </a:pPr>
            <a:r>
              <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rPr>
              <a:t>Input parameters include fertilizer, water, insecticide, etc.</a:t>
            </a:r>
          </a:p>
        </p:txBody>
      </p:sp>
      <p:sp>
        <p:nvSpPr>
          <p:cNvPr id="15392" name="TextBox 90"/>
          <p:cNvSpPr txBox="1">
            <a:spLocks noChangeArrowheads="1"/>
          </p:cNvSpPr>
          <p:nvPr/>
        </p:nvSpPr>
        <p:spPr bwMode="auto">
          <a:xfrm>
            <a:off x="6162676" y="947738"/>
            <a:ext cx="1763303"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defTabSz="685800" eaLnBrk="0" fontAlgn="base" hangingPunct="0">
              <a:spcBef>
                <a:spcPct val="0"/>
              </a:spcBef>
              <a:spcAft>
                <a:spcPct val="0"/>
              </a:spcAft>
            </a:pPr>
            <a:r>
              <a:rPr lang="en-US" altLang="en-US" sz="750" b="1">
                <a:solidFill>
                  <a:srgbClr val="0D1F69"/>
                </a:solidFill>
                <a:cs typeface="Arial"/>
              </a:rPr>
              <a:t>System for Crop Disease Identification</a:t>
            </a:r>
          </a:p>
        </p:txBody>
      </p:sp>
      <p:sp>
        <p:nvSpPr>
          <p:cNvPr id="15393" name="TextBox 91"/>
          <p:cNvSpPr txBox="1">
            <a:spLocks noChangeArrowheads="1"/>
          </p:cNvSpPr>
          <p:nvPr/>
        </p:nvSpPr>
        <p:spPr bwMode="auto">
          <a:xfrm>
            <a:off x="6149578" y="2288381"/>
            <a:ext cx="161743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defTabSz="685800" eaLnBrk="0" fontAlgn="base" hangingPunct="0">
              <a:spcBef>
                <a:spcPct val="0"/>
              </a:spcBef>
              <a:spcAft>
                <a:spcPct val="0"/>
              </a:spcAft>
            </a:pPr>
            <a:r>
              <a:rPr lang="en-US" altLang="en-US" sz="750" b="1">
                <a:solidFill>
                  <a:srgbClr val="0D1F69"/>
                </a:solidFill>
                <a:cs typeface="Arial"/>
              </a:rPr>
              <a:t>Sensors Integrated with Equipment</a:t>
            </a:r>
          </a:p>
        </p:txBody>
      </p:sp>
      <p:sp>
        <p:nvSpPr>
          <p:cNvPr id="93" name="Rectangle 92"/>
          <p:cNvSpPr/>
          <p:nvPr/>
        </p:nvSpPr>
        <p:spPr>
          <a:xfrm>
            <a:off x="7729537" y="1083469"/>
            <a:ext cx="1328738" cy="1338828"/>
          </a:xfrm>
          <a:prstGeom prst="rect">
            <a:avLst/>
          </a:prstGeom>
        </p:spPr>
        <p:txBody>
          <a:bodyPr>
            <a:spAutoFit/>
          </a:bodyPr>
          <a:lstStyle/>
          <a:p>
            <a:pPr marL="128588" indent="-128588" defTabSz="685800">
              <a:buFont typeface="Arial" panose="020B0604020202020204" pitchFamily="34" charset="0"/>
              <a:buChar char="•"/>
              <a:defRPr/>
            </a:pPr>
            <a:r>
              <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rPr>
              <a:t>Identify diseases from image</a:t>
            </a:r>
          </a:p>
          <a:p>
            <a:pPr defTabSz="685800">
              <a:defRPr/>
            </a:pPr>
            <a:endPar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endParaRPr>
          </a:p>
          <a:p>
            <a:pPr marL="128588" indent="-128588" defTabSz="685800">
              <a:buFont typeface="Arial" panose="020B0604020202020204" pitchFamily="34" charset="0"/>
              <a:buChar char="•"/>
              <a:defRPr/>
            </a:pPr>
            <a:r>
              <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rPr>
              <a:t>Generate advisories for user</a:t>
            </a:r>
          </a:p>
          <a:p>
            <a:pPr defTabSz="685800">
              <a:defRPr/>
            </a:pPr>
            <a:endPar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endParaRPr>
          </a:p>
          <a:p>
            <a:pPr marL="128588" indent="-128588" defTabSz="685800">
              <a:buFont typeface="Arial" panose="020B0604020202020204" pitchFamily="34" charset="0"/>
              <a:buChar char="•"/>
              <a:defRPr/>
            </a:pPr>
            <a:r>
              <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rPr>
              <a:t>Regional warning system based on disease location analysis</a:t>
            </a:r>
          </a:p>
          <a:p>
            <a:pPr defTabSz="685800">
              <a:defRPr/>
            </a:pPr>
            <a:endPar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endParaRPr>
          </a:p>
          <a:p>
            <a:pPr marL="128588" indent="-128588" defTabSz="685800">
              <a:buFont typeface="Arial" panose="020B0604020202020204" pitchFamily="34" charset="0"/>
              <a:buChar char="•"/>
              <a:defRPr/>
            </a:pPr>
            <a:r>
              <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rPr>
              <a:t>Provide inputs to supply chain management</a:t>
            </a:r>
          </a:p>
        </p:txBody>
      </p:sp>
      <p:sp>
        <p:nvSpPr>
          <p:cNvPr id="94" name="Rectangle 93"/>
          <p:cNvSpPr/>
          <p:nvPr/>
        </p:nvSpPr>
        <p:spPr>
          <a:xfrm>
            <a:off x="7729537" y="2418160"/>
            <a:ext cx="1328738" cy="1131079"/>
          </a:xfrm>
          <a:prstGeom prst="rect">
            <a:avLst/>
          </a:prstGeom>
        </p:spPr>
        <p:txBody>
          <a:bodyPr>
            <a:spAutoFit/>
          </a:bodyPr>
          <a:lstStyle/>
          <a:p>
            <a:pPr marL="128588" indent="-128588" defTabSz="685800">
              <a:buFont typeface="Arial" panose="020B0604020202020204" pitchFamily="34" charset="0"/>
              <a:buChar char="•"/>
              <a:defRPr/>
            </a:pPr>
            <a:r>
              <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rPr>
              <a:t>Automatic enablement of water dissipation units, fertilizers, etc. </a:t>
            </a:r>
          </a:p>
          <a:p>
            <a:pPr defTabSz="685800">
              <a:defRPr/>
            </a:pPr>
            <a:endPar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endParaRPr>
          </a:p>
          <a:p>
            <a:pPr marL="128588" indent="-128588" defTabSz="685800">
              <a:buFont typeface="Arial" panose="020B0604020202020204" pitchFamily="34" charset="0"/>
              <a:buChar char="•"/>
              <a:defRPr/>
            </a:pPr>
            <a:r>
              <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rPr>
              <a:t>Saves excess or deficient dissipation </a:t>
            </a:r>
          </a:p>
          <a:p>
            <a:pPr defTabSz="685800">
              <a:defRPr/>
            </a:pPr>
            <a:endPar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endParaRPr>
          </a:p>
          <a:p>
            <a:pPr marL="128588" indent="-128588" defTabSz="685800">
              <a:buFont typeface="Arial" panose="020B0604020202020204" pitchFamily="34" charset="0"/>
              <a:buChar char="•"/>
              <a:defRPr/>
            </a:pPr>
            <a:r>
              <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rPr>
              <a:t>Enhanced production with optimal dissipation</a:t>
            </a:r>
          </a:p>
          <a:p>
            <a:pPr defTabSz="685800">
              <a:defRPr/>
            </a:pPr>
            <a:endParaRPr kumimoji="1" lang="en-US" sz="675" dirty="0">
              <a:solidFill>
                <a:srgbClr val="000000">
                  <a:lumMod val="75000"/>
                  <a:lumOff val="25000"/>
                </a:srgbClr>
              </a:solidFill>
              <a:latin typeface="Arial" panose="020B0604020202020204" pitchFamily="34" charset="0"/>
              <a:ea typeface="MS PGothic" panose="020B0600070205080204" pitchFamily="34" charset="-128"/>
              <a:cs typeface="Arial"/>
            </a:endParaRPr>
          </a:p>
        </p:txBody>
      </p:sp>
      <p:sp>
        <p:nvSpPr>
          <p:cNvPr id="96" name="Right Arrow 95"/>
          <p:cNvSpPr/>
          <p:nvPr/>
        </p:nvSpPr>
        <p:spPr bwMode="auto">
          <a:xfrm rot="5400000">
            <a:off x="5523906" y="3303390"/>
            <a:ext cx="648890" cy="1293019"/>
          </a:xfrm>
          <a:prstGeom prst="rightArrow">
            <a:avLst/>
          </a:prstGeom>
          <a:solidFill>
            <a:schemeClr val="bg1">
              <a:lumMod val="65000"/>
              <a:alpha val="29000"/>
            </a:schemeClr>
          </a:solidFill>
          <a:ln w="9525" cap="flat" cmpd="sng" algn="ctr">
            <a:noFill/>
            <a:prstDash val="solid"/>
            <a:round/>
            <a:headEnd type="none" w="med" len="med"/>
            <a:tailEnd type="none" w="med" len="med"/>
          </a:ln>
          <a:effectLst/>
        </p:spPr>
        <p:txBody>
          <a:bodyPr lIns="68564" tIns="34282" rIns="68564" bIns="34282"/>
          <a:lstStyle/>
          <a:p>
            <a:pPr algn="ctr" defTabSz="685620" eaLnBrk="0" fontAlgn="base" hangingPunct="0">
              <a:spcBef>
                <a:spcPct val="0"/>
              </a:spcBef>
              <a:spcAft>
                <a:spcPct val="0"/>
              </a:spcAft>
              <a:defRPr/>
            </a:pPr>
            <a:endParaRPr lang="en-US" sz="812" dirty="0">
              <a:solidFill>
                <a:srgbClr val="004266"/>
              </a:solidFill>
              <a:latin typeface="Arial" panose="020B0604020202020204" pitchFamily="34" charset="0"/>
              <a:ea typeface="MS PGothic" panose="020B0600070205080204" pitchFamily="34" charset="-128"/>
              <a:cs typeface="Arial"/>
            </a:endParaRPr>
          </a:p>
        </p:txBody>
      </p:sp>
      <p:sp>
        <p:nvSpPr>
          <p:cNvPr id="15397" name="TextBox 12"/>
          <p:cNvSpPr txBox="1">
            <a:spLocks noChangeArrowheads="1"/>
          </p:cNvSpPr>
          <p:nvPr/>
        </p:nvSpPr>
        <p:spPr bwMode="auto">
          <a:xfrm>
            <a:off x="2927747" y="4311254"/>
            <a:ext cx="602337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algn="ctr" defTabSz="685800" eaLnBrk="0" fontAlgn="base" hangingPunct="0">
              <a:spcBef>
                <a:spcPct val="0"/>
              </a:spcBef>
              <a:spcAft>
                <a:spcPct val="0"/>
              </a:spcAft>
            </a:pPr>
            <a:r>
              <a:rPr lang="en-US" altLang="en-US" sz="1200" b="1" dirty="0">
                <a:solidFill>
                  <a:srgbClr val="0D1F69"/>
                </a:solidFill>
                <a:cs typeface="Arial"/>
              </a:rPr>
              <a:t>Use agricultural insights to predict crop yields and understand impact on your financial and operational performance …</a:t>
            </a:r>
          </a:p>
        </p:txBody>
      </p:sp>
    </p:spTree>
    <p:extLst>
      <p:ext uri="{BB962C8B-B14F-4D97-AF65-F5344CB8AC3E}">
        <p14:creationId xmlns:p14="http://schemas.microsoft.com/office/powerpoint/2010/main" val="300326417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320279" y="436960"/>
            <a:ext cx="8435578" cy="364331"/>
          </a:xfrm>
          <a:prstGeom prst="rect">
            <a:avLst/>
          </a:prstGeom>
        </p:spPr>
        <p:txBody>
          <a:bodyPr lIns="0" tIns="0" rIns="0" bIns="0" anchor="ctr"/>
          <a:lstStyle>
            <a:lvl1pPr algn="l" rtl="0" eaLnBrk="0" fontAlgn="base" hangingPunct="0">
              <a:lnSpc>
                <a:spcPct val="90000"/>
              </a:lnSpc>
              <a:spcBef>
                <a:spcPct val="0"/>
              </a:spcBef>
              <a:spcAft>
                <a:spcPct val="0"/>
              </a:spcAft>
              <a:defRPr sz="2200" kern="1200">
                <a:solidFill>
                  <a:schemeClr val="tx1"/>
                </a:solidFill>
                <a:latin typeface="Lubalin Book for IBM"/>
                <a:ea typeface="MS PGothic" pitchFamily="34" charset="-128"/>
                <a:cs typeface="Lubalin Book for IBM"/>
              </a:defRPr>
            </a:lvl1pPr>
            <a:lvl2pPr algn="l" rtl="0" eaLnBrk="0" fontAlgn="base" hangingPunct="0">
              <a:lnSpc>
                <a:spcPct val="90000"/>
              </a:lnSpc>
              <a:spcBef>
                <a:spcPct val="0"/>
              </a:spcBef>
              <a:spcAft>
                <a:spcPct val="0"/>
              </a:spcAft>
              <a:defRPr sz="2800">
                <a:solidFill>
                  <a:schemeClr val="tx1"/>
                </a:solidFill>
                <a:latin typeface="Arial" pitchFamily="34" charset="0"/>
                <a:ea typeface="MS PGothic" pitchFamily="34" charset="-128"/>
              </a:defRPr>
            </a:lvl2pPr>
            <a:lvl3pPr algn="l" rtl="0" eaLnBrk="0" fontAlgn="base" hangingPunct="0">
              <a:lnSpc>
                <a:spcPct val="90000"/>
              </a:lnSpc>
              <a:spcBef>
                <a:spcPct val="0"/>
              </a:spcBef>
              <a:spcAft>
                <a:spcPct val="0"/>
              </a:spcAft>
              <a:defRPr sz="2800">
                <a:solidFill>
                  <a:schemeClr val="tx1"/>
                </a:solidFill>
                <a:latin typeface="Arial" pitchFamily="34" charset="0"/>
                <a:ea typeface="MS PGothic" pitchFamily="34" charset="-128"/>
              </a:defRPr>
            </a:lvl3pPr>
            <a:lvl4pPr algn="l" rtl="0" eaLnBrk="0" fontAlgn="base" hangingPunct="0">
              <a:lnSpc>
                <a:spcPct val="90000"/>
              </a:lnSpc>
              <a:spcBef>
                <a:spcPct val="0"/>
              </a:spcBef>
              <a:spcAft>
                <a:spcPct val="0"/>
              </a:spcAft>
              <a:defRPr sz="2800">
                <a:solidFill>
                  <a:schemeClr val="tx1"/>
                </a:solidFill>
                <a:latin typeface="Arial" pitchFamily="34" charset="0"/>
                <a:ea typeface="MS PGothic" pitchFamily="34" charset="-128"/>
              </a:defRPr>
            </a:lvl4pPr>
            <a:lvl5pPr algn="l" rtl="0" eaLnBrk="0" fontAlgn="base" hangingPunct="0">
              <a:lnSpc>
                <a:spcPct val="90000"/>
              </a:lnSpc>
              <a:spcBef>
                <a:spcPct val="0"/>
              </a:spcBef>
              <a:spcAft>
                <a:spcPct val="0"/>
              </a:spcAft>
              <a:defRPr sz="2800">
                <a:solidFill>
                  <a:schemeClr val="tx1"/>
                </a:solidFill>
                <a:latin typeface="Arial" pitchFamily="34" charset="0"/>
                <a:ea typeface="MS PGothic" pitchFamily="34" charset="-128"/>
              </a:defRPr>
            </a:lvl5pPr>
            <a:lvl6pPr marL="457200" algn="l" rtl="0" fontAlgn="base">
              <a:lnSpc>
                <a:spcPct val="90000"/>
              </a:lnSpc>
              <a:spcBef>
                <a:spcPct val="0"/>
              </a:spcBef>
              <a:spcAft>
                <a:spcPct val="0"/>
              </a:spcAft>
              <a:defRPr sz="2800">
                <a:solidFill>
                  <a:schemeClr val="tx1"/>
                </a:solidFill>
                <a:latin typeface="Arial" pitchFamily="34" charset="0"/>
              </a:defRPr>
            </a:lvl6pPr>
            <a:lvl7pPr marL="914400" algn="l" rtl="0" fontAlgn="base">
              <a:lnSpc>
                <a:spcPct val="90000"/>
              </a:lnSpc>
              <a:spcBef>
                <a:spcPct val="0"/>
              </a:spcBef>
              <a:spcAft>
                <a:spcPct val="0"/>
              </a:spcAft>
              <a:defRPr sz="2800">
                <a:solidFill>
                  <a:schemeClr val="tx1"/>
                </a:solidFill>
                <a:latin typeface="Arial" pitchFamily="34" charset="0"/>
              </a:defRPr>
            </a:lvl7pPr>
            <a:lvl8pPr marL="1371600" algn="l" rtl="0" fontAlgn="base">
              <a:lnSpc>
                <a:spcPct val="90000"/>
              </a:lnSpc>
              <a:spcBef>
                <a:spcPct val="0"/>
              </a:spcBef>
              <a:spcAft>
                <a:spcPct val="0"/>
              </a:spcAft>
              <a:defRPr sz="2800">
                <a:solidFill>
                  <a:schemeClr val="tx1"/>
                </a:solidFill>
                <a:latin typeface="Arial" pitchFamily="34" charset="0"/>
              </a:defRPr>
            </a:lvl8pPr>
            <a:lvl9pPr marL="1828800" algn="l" rtl="0" fontAlgn="base">
              <a:lnSpc>
                <a:spcPct val="90000"/>
              </a:lnSpc>
              <a:spcBef>
                <a:spcPct val="0"/>
              </a:spcBef>
              <a:spcAft>
                <a:spcPct val="0"/>
              </a:spcAft>
              <a:defRPr sz="2800">
                <a:solidFill>
                  <a:schemeClr val="tx1"/>
                </a:solidFill>
                <a:latin typeface="Arial" pitchFamily="34" charset="0"/>
              </a:defRPr>
            </a:lvl9pPr>
          </a:lstStyle>
          <a:p>
            <a:pPr defTabSz="685800">
              <a:defRPr/>
            </a:pPr>
            <a:r>
              <a:rPr kumimoji="1" lang="en-US" sz="1600" dirty="0">
                <a:solidFill>
                  <a:srgbClr val="808080"/>
                </a:solidFill>
                <a:latin typeface="Calibri" panose="020F0502020204030204" pitchFamily="34" charset="0"/>
                <a:cs typeface="HelvNeue Light for IBM"/>
              </a:rPr>
              <a:t>Potential client use cases based on agriculture data and advanced insight</a:t>
            </a:r>
            <a:endParaRPr kumimoji="1" lang="en-US" sz="1600" dirty="0">
              <a:solidFill>
                <a:srgbClr val="00B0DA"/>
              </a:solidFill>
              <a:latin typeface="HelvNeue Light for IBM"/>
              <a:cs typeface="HelvNeue Light for IBM"/>
            </a:endParaRPr>
          </a:p>
        </p:txBody>
      </p:sp>
      <p:grpSp>
        <p:nvGrpSpPr>
          <p:cNvPr id="17411" name="Group 5"/>
          <p:cNvGrpSpPr>
            <a:grpSpLocks/>
          </p:cNvGrpSpPr>
          <p:nvPr/>
        </p:nvGrpSpPr>
        <p:grpSpPr bwMode="auto">
          <a:xfrm>
            <a:off x="3171825" y="1398985"/>
            <a:ext cx="1740694" cy="634603"/>
            <a:chOff x="4134315" y="1879265"/>
            <a:chExt cx="2320925" cy="845944"/>
          </a:xfrm>
        </p:grpSpPr>
        <p:grpSp>
          <p:nvGrpSpPr>
            <p:cNvPr id="17439" name="Group 1"/>
            <p:cNvGrpSpPr>
              <a:grpSpLocks/>
            </p:cNvGrpSpPr>
            <p:nvPr/>
          </p:nvGrpSpPr>
          <p:grpSpPr bwMode="auto">
            <a:xfrm>
              <a:off x="4134315" y="1879265"/>
              <a:ext cx="1024493" cy="845944"/>
              <a:chOff x="3609975" y="1965325"/>
              <a:chExt cx="1023938" cy="846138"/>
            </a:xfrm>
          </p:grpSpPr>
          <p:sp>
            <p:nvSpPr>
              <p:cNvPr id="11" name="Rectangle 10"/>
              <p:cNvSpPr/>
              <p:nvPr/>
            </p:nvSpPr>
            <p:spPr bwMode="auto">
              <a:xfrm>
                <a:off x="3609975" y="2403476"/>
                <a:ext cx="1023383" cy="407987"/>
              </a:xfrm>
              <a:prstGeom prst="rect">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0" rIns="27000" bIns="0" anchor="ctr"/>
              <a:lstStyle/>
              <a:p>
                <a:pPr algn="ctr" defTabSz="685800">
                  <a:lnSpc>
                    <a:spcPct val="90000"/>
                  </a:lnSpc>
                  <a:spcBef>
                    <a:spcPts val="300"/>
                  </a:spcBef>
                  <a:defRPr/>
                </a:pPr>
                <a:r>
                  <a:rPr kumimoji="1" lang="en-US" sz="800" dirty="0">
                    <a:solidFill>
                      <a:srgbClr val="FFFFFF"/>
                    </a:solidFill>
                    <a:latin typeface="Helvetica Neue Medium"/>
                    <a:cs typeface="Helvetica Neue Medium"/>
                  </a:rPr>
                  <a:t>Plan to grow a crop </a:t>
                </a:r>
              </a:p>
            </p:txBody>
          </p:sp>
          <p:pic>
            <p:nvPicPr>
              <p:cNvPr id="17444" name="Picture 46"/>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9975" y="1965325"/>
                <a:ext cx="102393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7440" name="Group 2"/>
            <p:cNvGrpSpPr>
              <a:grpSpLocks/>
            </p:cNvGrpSpPr>
            <p:nvPr/>
          </p:nvGrpSpPr>
          <p:grpSpPr bwMode="auto">
            <a:xfrm>
              <a:off x="5430747" y="1879265"/>
              <a:ext cx="1024493" cy="845944"/>
              <a:chOff x="4727575" y="1965325"/>
              <a:chExt cx="1023938" cy="846138"/>
            </a:xfrm>
          </p:grpSpPr>
          <p:sp>
            <p:nvSpPr>
              <p:cNvPr id="12" name="Rectangle 11"/>
              <p:cNvSpPr/>
              <p:nvPr/>
            </p:nvSpPr>
            <p:spPr bwMode="auto">
              <a:xfrm>
                <a:off x="4728131" y="2403476"/>
                <a:ext cx="1023382" cy="407987"/>
              </a:xfrm>
              <a:prstGeom prst="rect">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0" rIns="27000" bIns="0" anchor="ctr"/>
              <a:lstStyle/>
              <a:p>
                <a:pPr algn="ctr" defTabSz="685800">
                  <a:lnSpc>
                    <a:spcPct val="90000"/>
                  </a:lnSpc>
                  <a:spcBef>
                    <a:spcPts val="300"/>
                  </a:spcBef>
                  <a:defRPr/>
                </a:pPr>
                <a:r>
                  <a:rPr kumimoji="1" lang="en-US" sz="800" dirty="0">
                    <a:solidFill>
                      <a:srgbClr val="FFFFFF"/>
                    </a:solidFill>
                    <a:latin typeface="Helvetica Neue Medium"/>
                    <a:cs typeface="Helvetica Neue Medium"/>
                  </a:rPr>
                  <a:t>Seeding/ planting</a:t>
                </a:r>
              </a:p>
            </p:txBody>
          </p:sp>
          <p:pic>
            <p:nvPicPr>
              <p:cNvPr id="17442" name="Picture 47"/>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27575" y="1965325"/>
                <a:ext cx="102393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17412" name="Group 6"/>
          <p:cNvGrpSpPr>
            <a:grpSpLocks/>
          </p:cNvGrpSpPr>
          <p:nvPr/>
        </p:nvGrpSpPr>
        <p:grpSpPr bwMode="auto">
          <a:xfrm>
            <a:off x="3171825" y="2359819"/>
            <a:ext cx="1740694" cy="634604"/>
            <a:chOff x="4134315" y="2929157"/>
            <a:chExt cx="2320925" cy="845944"/>
          </a:xfrm>
        </p:grpSpPr>
        <p:grpSp>
          <p:nvGrpSpPr>
            <p:cNvPr id="17433" name="Group 5"/>
            <p:cNvGrpSpPr>
              <a:grpSpLocks/>
            </p:cNvGrpSpPr>
            <p:nvPr/>
          </p:nvGrpSpPr>
          <p:grpSpPr bwMode="auto">
            <a:xfrm>
              <a:off x="5429159" y="2929157"/>
              <a:ext cx="1026081" cy="845944"/>
              <a:chOff x="6980238" y="1965325"/>
              <a:chExt cx="1025525" cy="846138"/>
            </a:xfrm>
          </p:grpSpPr>
          <p:sp>
            <p:nvSpPr>
              <p:cNvPr id="14" name="Rectangle 13"/>
              <p:cNvSpPr/>
              <p:nvPr/>
            </p:nvSpPr>
            <p:spPr bwMode="auto">
              <a:xfrm>
                <a:off x="6980794" y="2403475"/>
                <a:ext cx="1024969" cy="407988"/>
              </a:xfrm>
              <a:prstGeom prst="rect">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0" rIns="27000" bIns="0" anchor="ctr"/>
              <a:lstStyle/>
              <a:p>
                <a:pPr algn="ctr" defTabSz="685800">
                  <a:lnSpc>
                    <a:spcPct val="90000"/>
                  </a:lnSpc>
                  <a:spcBef>
                    <a:spcPts val="300"/>
                  </a:spcBef>
                  <a:defRPr/>
                </a:pPr>
                <a:r>
                  <a:rPr kumimoji="1" lang="en-US" sz="800" dirty="0">
                    <a:solidFill>
                      <a:srgbClr val="FFFFFF"/>
                    </a:solidFill>
                    <a:latin typeface="Helvetica Neue Medium"/>
                    <a:cs typeface="Helvetica Neue Medium"/>
                  </a:rPr>
                  <a:t>Protect crop growth</a:t>
                </a:r>
              </a:p>
            </p:txBody>
          </p:sp>
          <p:pic>
            <p:nvPicPr>
              <p:cNvPr id="17438" name="Picture 48"/>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80238" y="1965325"/>
                <a:ext cx="1025525"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7434" name="Group 4"/>
            <p:cNvGrpSpPr>
              <a:grpSpLocks/>
            </p:cNvGrpSpPr>
            <p:nvPr/>
          </p:nvGrpSpPr>
          <p:grpSpPr bwMode="auto">
            <a:xfrm>
              <a:off x="4134315" y="2929157"/>
              <a:ext cx="1024493" cy="845944"/>
              <a:chOff x="5857875" y="1965325"/>
              <a:chExt cx="1023938" cy="846138"/>
            </a:xfrm>
          </p:grpSpPr>
          <p:sp>
            <p:nvSpPr>
              <p:cNvPr id="13" name="Rectangle 12"/>
              <p:cNvSpPr/>
              <p:nvPr/>
            </p:nvSpPr>
            <p:spPr bwMode="auto">
              <a:xfrm>
                <a:off x="5857875" y="2403475"/>
                <a:ext cx="1023383" cy="407988"/>
              </a:xfrm>
              <a:prstGeom prst="rect">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0" rIns="27000" bIns="0" anchor="ctr"/>
              <a:lstStyle/>
              <a:p>
                <a:pPr algn="ctr" defTabSz="685800">
                  <a:lnSpc>
                    <a:spcPct val="90000"/>
                  </a:lnSpc>
                  <a:spcBef>
                    <a:spcPts val="300"/>
                  </a:spcBef>
                  <a:defRPr/>
                </a:pPr>
                <a:r>
                  <a:rPr kumimoji="1" lang="en-US" sz="800" dirty="0">
                    <a:solidFill>
                      <a:srgbClr val="FFFFFF"/>
                    </a:solidFill>
                    <a:latin typeface="Helvetica Neue Medium"/>
                    <a:cs typeface="Helvetica Neue Medium"/>
                  </a:rPr>
                  <a:t>Nurture crop growth</a:t>
                </a:r>
              </a:p>
            </p:txBody>
          </p:sp>
          <p:pic>
            <p:nvPicPr>
              <p:cNvPr id="17436" name="Picture 19"/>
              <p:cNvPicPr preferRelativeResize="0">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57875" y="1965325"/>
                <a:ext cx="102393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17413" name="Group 4"/>
          <p:cNvGrpSpPr>
            <a:grpSpLocks/>
          </p:cNvGrpSpPr>
          <p:nvPr/>
        </p:nvGrpSpPr>
        <p:grpSpPr bwMode="auto">
          <a:xfrm>
            <a:off x="3171825" y="3320654"/>
            <a:ext cx="1739504" cy="634603"/>
            <a:chOff x="4134315" y="3959083"/>
            <a:chExt cx="2319338" cy="845945"/>
          </a:xfrm>
        </p:grpSpPr>
        <p:grpSp>
          <p:nvGrpSpPr>
            <p:cNvPr id="17427" name="Group 7"/>
            <p:cNvGrpSpPr>
              <a:grpSpLocks/>
            </p:cNvGrpSpPr>
            <p:nvPr/>
          </p:nvGrpSpPr>
          <p:grpSpPr bwMode="auto">
            <a:xfrm>
              <a:off x="5429158" y="3959083"/>
              <a:ext cx="1024495" cy="845945"/>
              <a:chOff x="9228138" y="1965324"/>
              <a:chExt cx="1023940" cy="846139"/>
            </a:xfrm>
          </p:grpSpPr>
          <p:sp>
            <p:nvSpPr>
              <p:cNvPr id="16" name="Rectangle 15"/>
              <p:cNvSpPr/>
              <p:nvPr/>
            </p:nvSpPr>
            <p:spPr bwMode="auto">
              <a:xfrm>
                <a:off x="9228695" y="2403475"/>
                <a:ext cx="1023383" cy="407988"/>
              </a:xfrm>
              <a:prstGeom prst="rect">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0" rIns="27000" bIns="0" anchor="ctr"/>
              <a:lstStyle/>
              <a:p>
                <a:pPr algn="ctr" defTabSz="685800">
                  <a:lnSpc>
                    <a:spcPct val="90000"/>
                  </a:lnSpc>
                  <a:spcBef>
                    <a:spcPts val="300"/>
                  </a:spcBef>
                  <a:defRPr/>
                </a:pPr>
                <a:r>
                  <a:rPr kumimoji="1" lang="en-US" sz="800" dirty="0">
                    <a:solidFill>
                      <a:srgbClr val="FFFFFF"/>
                    </a:solidFill>
                    <a:latin typeface="Helvetica Neue Medium"/>
                    <a:cs typeface="Helvetica Neue Medium"/>
                  </a:rPr>
                  <a:t>Harvest </a:t>
                </a:r>
                <a:br>
                  <a:rPr kumimoji="1" lang="en-US" sz="800" dirty="0">
                    <a:solidFill>
                      <a:srgbClr val="FFFFFF"/>
                    </a:solidFill>
                    <a:latin typeface="Helvetica Neue Medium"/>
                    <a:cs typeface="Helvetica Neue Medium"/>
                  </a:rPr>
                </a:br>
                <a:r>
                  <a:rPr kumimoji="1" lang="en-US" sz="800" dirty="0">
                    <a:solidFill>
                      <a:srgbClr val="FFFFFF"/>
                    </a:solidFill>
                    <a:latin typeface="Helvetica Neue Medium"/>
                    <a:cs typeface="Helvetica Neue Medium"/>
                  </a:rPr>
                  <a:t>crop</a:t>
                </a:r>
              </a:p>
            </p:txBody>
          </p:sp>
          <p:pic>
            <p:nvPicPr>
              <p:cNvPr id="17432" name="Picture 51"/>
              <p:cNvPicPr preferRelativeResize="0">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28138" y="1965324"/>
                <a:ext cx="1023940"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7428" name="Group 6"/>
            <p:cNvGrpSpPr>
              <a:grpSpLocks/>
            </p:cNvGrpSpPr>
            <p:nvPr/>
          </p:nvGrpSpPr>
          <p:grpSpPr bwMode="auto">
            <a:xfrm>
              <a:off x="4134315" y="3959084"/>
              <a:ext cx="1024492" cy="845944"/>
              <a:chOff x="8104188" y="1965325"/>
              <a:chExt cx="1023937" cy="846138"/>
            </a:xfrm>
          </p:grpSpPr>
          <p:sp>
            <p:nvSpPr>
              <p:cNvPr id="15" name="Rectangle 14"/>
              <p:cNvSpPr/>
              <p:nvPr/>
            </p:nvSpPr>
            <p:spPr bwMode="auto">
              <a:xfrm>
                <a:off x="8104188" y="2403475"/>
                <a:ext cx="1023383" cy="407988"/>
              </a:xfrm>
              <a:prstGeom prst="rect">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0" rIns="27000" bIns="0" anchor="ctr"/>
              <a:lstStyle/>
              <a:p>
                <a:pPr algn="ctr" defTabSz="685800">
                  <a:lnSpc>
                    <a:spcPct val="90000"/>
                  </a:lnSpc>
                  <a:spcBef>
                    <a:spcPts val="300"/>
                  </a:spcBef>
                  <a:defRPr/>
                </a:pPr>
                <a:r>
                  <a:rPr kumimoji="1" lang="en-US" sz="800" dirty="0">
                    <a:solidFill>
                      <a:srgbClr val="FFFFFF"/>
                    </a:solidFill>
                    <a:latin typeface="Helvetica Neue Medium"/>
                    <a:cs typeface="Helvetica Neue Medium"/>
                  </a:rPr>
                  <a:t>Monitor/adjust crop growth</a:t>
                </a:r>
              </a:p>
            </p:txBody>
          </p:sp>
          <p:pic>
            <p:nvPicPr>
              <p:cNvPr id="17430" name="Picture 50"/>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04188" y="1965325"/>
                <a:ext cx="1023937"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77" name="Right Arrow 76"/>
          <p:cNvSpPr/>
          <p:nvPr/>
        </p:nvSpPr>
        <p:spPr bwMode="auto">
          <a:xfrm>
            <a:off x="2431256" y="2019300"/>
            <a:ext cx="648891" cy="1293019"/>
          </a:xfrm>
          <a:prstGeom prst="rightArrow">
            <a:avLst/>
          </a:prstGeom>
          <a:solidFill>
            <a:schemeClr val="bg1">
              <a:lumMod val="65000"/>
              <a:alpha val="27000"/>
            </a:schemeClr>
          </a:solidFill>
          <a:ln w="9525" cap="flat" cmpd="sng" algn="ctr">
            <a:noFill/>
            <a:prstDash val="solid"/>
            <a:round/>
            <a:headEnd type="none" w="med" len="med"/>
            <a:tailEnd type="none" w="med" len="med"/>
          </a:ln>
          <a:effectLst/>
        </p:spPr>
        <p:txBody>
          <a:bodyPr lIns="68564" tIns="34282" rIns="68564" bIns="34282"/>
          <a:lstStyle/>
          <a:p>
            <a:pPr algn="ctr" defTabSz="685620" eaLnBrk="0" fontAlgn="base" hangingPunct="0">
              <a:spcBef>
                <a:spcPct val="0"/>
              </a:spcBef>
              <a:spcAft>
                <a:spcPct val="0"/>
              </a:spcAft>
              <a:defRPr/>
            </a:pPr>
            <a:endParaRPr lang="en-US" sz="812" dirty="0">
              <a:solidFill>
                <a:srgbClr val="004266"/>
              </a:solidFill>
              <a:latin typeface="Arial" panose="020B0604020202020204" pitchFamily="34" charset="0"/>
              <a:ea typeface="MS PGothic" panose="020B0600070205080204" pitchFamily="34" charset="-128"/>
              <a:cs typeface="Arial"/>
            </a:endParaRPr>
          </a:p>
        </p:txBody>
      </p:sp>
      <p:pic>
        <p:nvPicPr>
          <p:cNvPr id="9221" name="Picture 3" descr="C:\Users\IBM_ADMIN\Desktop\Untitled.jpg"/>
          <p:cNvPicPr>
            <a:picLocks noChangeAspect="1" noChangeArrowheads="1"/>
          </p:cNvPicPr>
          <p:nvPr/>
        </p:nvPicPr>
        <p:blipFill>
          <a:blip r:embed="rId8"/>
          <a:srcRect/>
          <a:stretch>
            <a:fillRect/>
          </a:stretch>
        </p:blipFill>
        <p:spPr bwMode="auto">
          <a:xfrm>
            <a:off x="375047" y="1407319"/>
            <a:ext cx="1108472" cy="872729"/>
          </a:xfrm>
          <a:prstGeom prst="rect">
            <a:avLst/>
          </a:prstGeom>
          <a:solidFill>
            <a:schemeClr val="accent2"/>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pic>
      <p:pic>
        <p:nvPicPr>
          <p:cNvPr id="9222" name="Picture 1"/>
          <p:cNvPicPr>
            <a:picLocks noChangeAspect="1" noChangeArrowheads="1"/>
          </p:cNvPicPr>
          <p:nvPr/>
        </p:nvPicPr>
        <p:blipFill>
          <a:blip r:embed="rId9"/>
          <a:srcRect/>
          <a:stretch>
            <a:fillRect/>
          </a:stretch>
        </p:blipFill>
        <p:spPr bwMode="auto">
          <a:xfrm>
            <a:off x="985838" y="2010967"/>
            <a:ext cx="1237060" cy="858440"/>
          </a:xfrm>
          <a:prstGeom prst="rect">
            <a:avLst/>
          </a:prstGeom>
          <a:solidFill>
            <a:schemeClr val="accent2"/>
          </a:solidFill>
          <a:ln>
            <a:noFill/>
          </a:ln>
          <a:effectLst>
            <a:outerShdw blurRad="50800" dist="38100" dir="2700000" algn="tl" rotWithShape="0">
              <a:prstClr val="black">
                <a:alpha val="40000"/>
              </a:prstClr>
            </a:outerShdw>
          </a:effectLst>
          <a:extLst/>
        </p:spPr>
      </p:pic>
      <p:sp>
        <p:nvSpPr>
          <p:cNvPr id="80" name="TextBox 79"/>
          <p:cNvSpPr txBox="1"/>
          <p:nvPr/>
        </p:nvSpPr>
        <p:spPr>
          <a:xfrm>
            <a:off x="3502819" y="1122760"/>
            <a:ext cx="1194238" cy="115416"/>
          </a:xfrm>
          <a:prstGeom prst="rect">
            <a:avLst/>
          </a:prstGeom>
          <a:noFill/>
        </p:spPr>
        <p:txBody>
          <a:bodyPr wrap="none" lIns="0" tIns="0" rIns="0" bIns="0">
            <a:spAutoFit/>
          </a:bodyPr>
          <a:lstStyle/>
          <a:p>
            <a:pPr defTabSz="685800" eaLnBrk="0" fontAlgn="base" hangingPunct="0">
              <a:spcBef>
                <a:spcPct val="0"/>
              </a:spcBef>
              <a:spcAft>
                <a:spcPct val="0"/>
              </a:spcAft>
              <a:defRPr/>
            </a:pPr>
            <a:r>
              <a:rPr kumimoji="1" lang="en-US" sz="750" b="1" dirty="0">
                <a:solidFill>
                  <a:srgbClr val="000000">
                    <a:lumMod val="75000"/>
                    <a:lumOff val="25000"/>
                  </a:srgbClr>
                </a:solidFill>
                <a:latin typeface="Arial" panose="020B0604020202020204" pitchFamily="34" charset="0"/>
                <a:ea typeface="MS PGothic" panose="020B0600070205080204" pitchFamily="34" charset="-128"/>
                <a:cs typeface="Arial"/>
              </a:rPr>
              <a:t>Precision Ag Applications</a:t>
            </a:r>
          </a:p>
        </p:txBody>
      </p:sp>
      <p:sp>
        <p:nvSpPr>
          <p:cNvPr id="81" name="TextBox 80"/>
          <p:cNvSpPr txBox="1"/>
          <p:nvPr/>
        </p:nvSpPr>
        <p:spPr>
          <a:xfrm>
            <a:off x="894160" y="1122760"/>
            <a:ext cx="899285" cy="115416"/>
          </a:xfrm>
          <a:prstGeom prst="rect">
            <a:avLst/>
          </a:prstGeom>
          <a:noFill/>
        </p:spPr>
        <p:txBody>
          <a:bodyPr wrap="none" lIns="0" tIns="0" rIns="0" bIns="0">
            <a:spAutoFit/>
          </a:bodyPr>
          <a:lstStyle/>
          <a:p>
            <a:pPr defTabSz="685800" eaLnBrk="0" fontAlgn="base" hangingPunct="0">
              <a:spcBef>
                <a:spcPct val="0"/>
              </a:spcBef>
              <a:spcAft>
                <a:spcPct val="0"/>
              </a:spcAft>
              <a:defRPr/>
            </a:pPr>
            <a:r>
              <a:rPr kumimoji="1" lang="en-US" sz="750" b="1" dirty="0">
                <a:solidFill>
                  <a:srgbClr val="000000">
                    <a:lumMod val="75000"/>
                    <a:lumOff val="25000"/>
                  </a:srgbClr>
                </a:solidFill>
                <a:latin typeface="Arial" panose="020B0604020202020204" pitchFamily="34" charset="0"/>
                <a:ea typeface="MS PGothic" panose="020B0600070205080204" pitchFamily="34" charset="-128"/>
                <a:cs typeface="Arial"/>
              </a:rPr>
              <a:t>Crop Data &amp; Insight</a:t>
            </a:r>
          </a:p>
        </p:txBody>
      </p:sp>
      <p:sp>
        <p:nvSpPr>
          <p:cNvPr id="82" name="Right Arrow 81"/>
          <p:cNvSpPr/>
          <p:nvPr/>
        </p:nvSpPr>
        <p:spPr bwMode="auto">
          <a:xfrm>
            <a:off x="5023248" y="2019300"/>
            <a:ext cx="648890" cy="1293019"/>
          </a:xfrm>
          <a:prstGeom prst="rightArrow">
            <a:avLst/>
          </a:prstGeom>
          <a:solidFill>
            <a:schemeClr val="bg1">
              <a:lumMod val="65000"/>
              <a:alpha val="27000"/>
            </a:schemeClr>
          </a:solidFill>
          <a:ln w="9525" cap="flat" cmpd="sng" algn="ctr">
            <a:noFill/>
            <a:prstDash val="solid"/>
            <a:round/>
            <a:headEnd type="none" w="med" len="med"/>
            <a:tailEnd type="none" w="med" len="med"/>
          </a:ln>
          <a:effectLst/>
        </p:spPr>
        <p:txBody>
          <a:bodyPr lIns="68564" tIns="34282" rIns="68564" bIns="34282"/>
          <a:lstStyle/>
          <a:p>
            <a:pPr algn="ctr" defTabSz="685620" eaLnBrk="0" fontAlgn="base" hangingPunct="0">
              <a:spcBef>
                <a:spcPct val="0"/>
              </a:spcBef>
              <a:spcAft>
                <a:spcPct val="0"/>
              </a:spcAft>
              <a:defRPr/>
            </a:pPr>
            <a:endParaRPr lang="en-US" sz="812" dirty="0">
              <a:solidFill>
                <a:srgbClr val="004266"/>
              </a:solidFill>
              <a:latin typeface="Arial" panose="020B0604020202020204" pitchFamily="34" charset="0"/>
              <a:ea typeface="MS PGothic" panose="020B0600070205080204" pitchFamily="34" charset="-128"/>
              <a:cs typeface="Arial"/>
            </a:endParaRPr>
          </a:p>
        </p:txBody>
      </p:sp>
      <p:pic>
        <p:nvPicPr>
          <p:cNvPr id="17420" name="Picture 82"/>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6457951" y="1395413"/>
            <a:ext cx="1631156" cy="81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TextBox 83"/>
          <p:cNvSpPr txBox="1"/>
          <p:nvPr/>
        </p:nvSpPr>
        <p:spPr>
          <a:xfrm>
            <a:off x="6526529" y="1076325"/>
            <a:ext cx="1494000" cy="230832"/>
          </a:xfrm>
          <a:prstGeom prst="rect">
            <a:avLst/>
          </a:prstGeom>
          <a:noFill/>
        </p:spPr>
        <p:txBody>
          <a:bodyPr wrap="none" lIns="0" tIns="0" rIns="0" bIns="0">
            <a:spAutoFit/>
          </a:bodyPr>
          <a:lstStyle/>
          <a:p>
            <a:pPr algn="ctr" defTabSz="685800" eaLnBrk="0" fontAlgn="base" hangingPunct="0">
              <a:spcBef>
                <a:spcPct val="0"/>
              </a:spcBef>
              <a:spcAft>
                <a:spcPct val="0"/>
              </a:spcAft>
              <a:defRPr/>
            </a:pPr>
            <a:r>
              <a:rPr kumimoji="1" lang="en-US" sz="750" b="1" dirty="0">
                <a:solidFill>
                  <a:srgbClr val="000000">
                    <a:lumMod val="75000"/>
                    <a:lumOff val="25000"/>
                  </a:srgbClr>
                </a:solidFill>
                <a:latin typeface="Arial" panose="020B0604020202020204" pitchFamily="34" charset="0"/>
                <a:ea typeface="MS PGothic" panose="020B0600070205080204" pitchFamily="34" charset="-128"/>
                <a:cs typeface="Arial"/>
              </a:rPr>
              <a:t>Operational Use Cases</a:t>
            </a:r>
          </a:p>
          <a:p>
            <a:pPr algn="ctr" defTabSz="685800" eaLnBrk="0" fontAlgn="base" hangingPunct="0">
              <a:spcBef>
                <a:spcPct val="0"/>
              </a:spcBef>
              <a:spcAft>
                <a:spcPct val="0"/>
              </a:spcAft>
              <a:defRPr/>
            </a:pPr>
            <a:r>
              <a:rPr kumimoji="1" lang="en-US" sz="750" b="1" dirty="0">
                <a:solidFill>
                  <a:srgbClr val="000000">
                    <a:lumMod val="75000"/>
                    <a:lumOff val="25000"/>
                  </a:srgbClr>
                </a:solidFill>
                <a:latin typeface="Arial" panose="020B0604020202020204" pitchFamily="34" charset="0"/>
                <a:ea typeface="MS PGothic" panose="020B0600070205080204" pitchFamily="34" charset="-128"/>
                <a:cs typeface="Arial"/>
              </a:rPr>
              <a:t>Based on Crop Yield Predictions</a:t>
            </a:r>
          </a:p>
        </p:txBody>
      </p:sp>
      <p:sp>
        <p:nvSpPr>
          <p:cNvPr id="85" name="Rectangle 84"/>
          <p:cNvSpPr/>
          <p:nvPr/>
        </p:nvSpPr>
        <p:spPr>
          <a:xfrm>
            <a:off x="5713810" y="2340769"/>
            <a:ext cx="1725215" cy="1911101"/>
          </a:xfrm>
          <a:prstGeom prst="rect">
            <a:avLst/>
          </a:prstGeom>
        </p:spPr>
        <p:txBody>
          <a:bodyPr>
            <a:spAutoFit/>
          </a:bodyPr>
          <a:lstStyle/>
          <a:p>
            <a:pPr marL="128588" indent="-128588" defTabSz="685800">
              <a:buFont typeface="Arial" panose="020B0604020202020204" pitchFamily="34" charset="0"/>
              <a:buChar char="•"/>
              <a:defRPr/>
            </a:pPr>
            <a:r>
              <a:rPr kumimoji="1" lang="en-US" sz="788" dirty="0">
                <a:solidFill>
                  <a:srgbClr val="000000">
                    <a:lumMod val="75000"/>
                    <a:lumOff val="25000"/>
                  </a:srgbClr>
                </a:solidFill>
                <a:latin typeface="Arial" panose="020B0604020202020204" pitchFamily="34" charset="0"/>
                <a:ea typeface="MS PGothic" panose="020B0600070205080204" pitchFamily="34" charset="-128"/>
                <a:cs typeface="Arial"/>
              </a:rPr>
              <a:t>Supply forecasting for raw materials in client products</a:t>
            </a:r>
          </a:p>
          <a:p>
            <a:pPr defTabSz="685800">
              <a:defRPr/>
            </a:pPr>
            <a:endParaRPr kumimoji="1" lang="en-US" sz="788" dirty="0">
              <a:solidFill>
                <a:srgbClr val="000000">
                  <a:lumMod val="75000"/>
                  <a:lumOff val="25000"/>
                </a:srgbClr>
              </a:solidFill>
              <a:latin typeface="Arial" panose="020B0604020202020204" pitchFamily="34" charset="0"/>
              <a:ea typeface="MS PGothic" panose="020B0600070205080204" pitchFamily="34" charset="-128"/>
              <a:cs typeface="Arial"/>
            </a:endParaRPr>
          </a:p>
          <a:p>
            <a:pPr marL="128588" indent="-128588" defTabSz="685800">
              <a:buFont typeface="Arial" panose="020B0604020202020204" pitchFamily="34" charset="0"/>
              <a:buChar char="•"/>
              <a:defRPr/>
            </a:pPr>
            <a:r>
              <a:rPr kumimoji="1" lang="en-US" sz="788" dirty="0">
                <a:solidFill>
                  <a:srgbClr val="000000">
                    <a:lumMod val="75000"/>
                    <a:lumOff val="25000"/>
                  </a:srgbClr>
                </a:solidFill>
                <a:latin typeface="Arial" panose="020B0604020202020204" pitchFamily="34" charset="0"/>
                <a:ea typeface="MS PGothic" panose="020B0600070205080204" pitchFamily="34" charset="-128"/>
                <a:cs typeface="Arial"/>
              </a:rPr>
              <a:t>Analyze impact of fluctuations in supply on ability to meet customer demand</a:t>
            </a:r>
          </a:p>
          <a:p>
            <a:pPr defTabSz="685800">
              <a:defRPr/>
            </a:pPr>
            <a:endParaRPr kumimoji="1" lang="en-US" sz="788" dirty="0">
              <a:solidFill>
                <a:srgbClr val="000000">
                  <a:lumMod val="75000"/>
                  <a:lumOff val="25000"/>
                </a:srgbClr>
              </a:solidFill>
              <a:latin typeface="Arial" panose="020B0604020202020204" pitchFamily="34" charset="0"/>
              <a:ea typeface="MS PGothic" panose="020B0600070205080204" pitchFamily="34" charset="-128"/>
              <a:cs typeface="Arial"/>
            </a:endParaRPr>
          </a:p>
          <a:p>
            <a:pPr marL="128588" indent="-128588" defTabSz="685800">
              <a:buFont typeface="Arial" panose="020B0604020202020204" pitchFamily="34" charset="0"/>
              <a:buChar char="•"/>
              <a:defRPr/>
            </a:pPr>
            <a:r>
              <a:rPr kumimoji="1" lang="en-US" sz="788" dirty="0">
                <a:solidFill>
                  <a:srgbClr val="000000">
                    <a:lumMod val="75000"/>
                    <a:lumOff val="25000"/>
                  </a:srgbClr>
                </a:solidFill>
                <a:latin typeface="Arial" panose="020B0604020202020204" pitchFamily="34" charset="0"/>
                <a:ea typeface="MS PGothic" panose="020B0600070205080204" pitchFamily="34" charset="-128"/>
                <a:cs typeface="Arial"/>
              </a:rPr>
              <a:t>Determine raw material supply’s impact on global commodities pricing</a:t>
            </a:r>
          </a:p>
          <a:p>
            <a:pPr defTabSz="685800">
              <a:defRPr/>
            </a:pPr>
            <a:endParaRPr kumimoji="1" lang="en-US" sz="788" dirty="0">
              <a:solidFill>
                <a:srgbClr val="000000">
                  <a:lumMod val="75000"/>
                  <a:lumOff val="25000"/>
                </a:srgbClr>
              </a:solidFill>
              <a:latin typeface="Arial" panose="020B0604020202020204" pitchFamily="34" charset="0"/>
              <a:ea typeface="MS PGothic" panose="020B0600070205080204" pitchFamily="34" charset="-128"/>
              <a:cs typeface="Arial"/>
            </a:endParaRPr>
          </a:p>
          <a:p>
            <a:pPr marL="128588" indent="-128588" defTabSz="685800">
              <a:buFont typeface="Arial" panose="020B0604020202020204" pitchFamily="34" charset="0"/>
              <a:buChar char="•"/>
              <a:defRPr/>
            </a:pPr>
            <a:r>
              <a:rPr kumimoji="1" lang="en-US" sz="788" dirty="0">
                <a:solidFill>
                  <a:srgbClr val="000000">
                    <a:lumMod val="75000"/>
                    <a:lumOff val="25000"/>
                  </a:srgbClr>
                </a:solidFill>
                <a:latin typeface="Arial" panose="020B0604020202020204" pitchFamily="34" charset="0"/>
                <a:ea typeface="MS PGothic" panose="020B0600070205080204" pitchFamily="34" charset="-128"/>
                <a:cs typeface="Arial"/>
              </a:rPr>
              <a:t>Use seasonal crop yield forecasts to determine hedging policies</a:t>
            </a:r>
          </a:p>
          <a:p>
            <a:pPr marL="128588" indent="-128588" defTabSz="685800">
              <a:buFont typeface="Arial" panose="020B0604020202020204" pitchFamily="34" charset="0"/>
              <a:buChar char="•"/>
              <a:defRPr/>
            </a:pPr>
            <a:endParaRPr kumimoji="1" lang="en-US" sz="788" dirty="0">
              <a:solidFill>
                <a:srgbClr val="000000">
                  <a:lumMod val="75000"/>
                  <a:lumOff val="25000"/>
                </a:srgbClr>
              </a:solidFill>
              <a:latin typeface="Arial" panose="020B0604020202020204" pitchFamily="34" charset="0"/>
              <a:ea typeface="MS PGothic" panose="020B0600070205080204" pitchFamily="34" charset="-128"/>
              <a:cs typeface="Arial"/>
            </a:endParaRPr>
          </a:p>
        </p:txBody>
      </p:sp>
      <p:sp>
        <p:nvSpPr>
          <p:cNvPr id="86" name="Rectangle 85"/>
          <p:cNvSpPr/>
          <p:nvPr/>
        </p:nvSpPr>
        <p:spPr>
          <a:xfrm>
            <a:off x="7344966" y="2340769"/>
            <a:ext cx="1632347" cy="1789849"/>
          </a:xfrm>
          <a:prstGeom prst="rect">
            <a:avLst/>
          </a:prstGeom>
        </p:spPr>
        <p:txBody>
          <a:bodyPr>
            <a:spAutoFit/>
          </a:bodyPr>
          <a:lstStyle/>
          <a:p>
            <a:pPr marL="128588" indent="-128588" defTabSz="685800">
              <a:buFont typeface="Arial" panose="020B0604020202020204" pitchFamily="34" charset="0"/>
              <a:buChar char="•"/>
              <a:defRPr/>
            </a:pPr>
            <a:r>
              <a:rPr kumimoji="1" lang="en-US" sz="788" dirty="0">
                <a:solidFill>
                  <a:srgbClr val="000000">
                    <a:lumMod val="75000"/>
                    <a:lumOff val="25000"/>
                  </a:srgbClr>
                </a:solidFill>
                <a:latin typeface="Arial" panose="020B0604020202020204" pitchFamily="34" charset="0"/>
                <a:ea typeface="MS PGothic" panose="020B0600070205080204" pitchFamily="34" charset="-128"/>
                <a:cs typeface="Arial"/>
              </a:rPr>
              <a:t>Employ marketing and advertising campaigns to balance supply and demand</a:t>
            </a:r>
          </a:p>
          <a:p>
            <a:pPr marL="128588" indent="-128588" defTabSz="685800">
              <a:buFont typeface="Arial" panose="020B0604020202020204" pitchFamily="34" charset="0"/>
              <a:buChar char="•"/>
              <a:defRPr/>
            </a:pPr>
            <a:endParaRPr kumimoji="1" lang="en-US" sz="788" dirty="0">
              <a:solidFill>
                <a:srgbClr val="000000">
                  <a:lumMod val="75000"/>
                  <a:lumOff val="25000"/>
                </a:srgbClr>
              </a:solidFill>
              <a:latin typeface="Arial" panose="020B0604020202020204" pitchFamily="34" charset="0"/>
              <a:ea typeface="MS PGothic" panose="020B0600070205080204" pitchFamily="34" charset="-128"/>
              <a:cs typeface="Arial"/>
            </a:endParaRPr>
          </a:p>
          <a:p>
            <a:pPr marL="128588" indent="-128588" defTabSz="685800">
              <a:buFont typeface="Arial" panose="020B0604020202020204" pitchFamily="34" charset="0"/>
              <a:buChar char="•"/>
              <a:defRPr/>
            </a:pPr>
            <a:r>
              <a:rPr kumimoji="1" lang="en-US" sz="788" dirty="0">
                <a:solidFill>
                  <a:srgbClr val="000000">
                    <a:lumMod val="75000"/>
                    <a:lumOff val="25000"/>
                  </a:srgbClr>
                </a:solidFill>
                <a:latin typeface="Arial" panose="020B0604020202020204" pitchFamily="34" charset="0"/>
                <a:ea typeface="MS PGothic" panose="020B0600070205080204" pitchFamily="34" charset="-128"/>
                <a:cs typeface="Arial"/>
              </a:rPr>
              <a:t>Explore commodity purchasing contracts with new suppliers</a:t>
            </a:r>
          </a:p>
          <a:p>
            <a:pPr marL="128588" indent="-128588" defTabSz="685800">
              <a:buFont typeface="Arial" panose="020B0604020202020204" pitchFamily="34" charset="0"/>
              <a:buChar char="•"/>
              <a:defRPr/>
            </a:pPr>
            <a:endParaRPr kumimoji="1" lang="en-US" sz="788" dirty="0">
              <a:solidFill>
                <a:srgbClr val="000000">
                  <a:lumMod val="75000"/>
                  <a:lumOff val="25000"/>
                </a:srgbClr>
              </a:solidFill>
              <a:latin typeface="Arial" panose="020B0604020202020204" pitchFamily="34" charset="0"/>
              <a:ea typeface="MS PGothic" panose="020B0600070205080204" pitchFamily="34" charset="-128"/>
              <a:cs typeface="Arial"/>
            </a:endParaRPr>
          </a:p>
          <a:p>
            <a:pPr marL="128588" indent="-128588" defTabSz="685800">
              <a:buFont typeface="Arial" panose="020B0604020202020204" pitchFamily="34" charset="0"/>
              <a:buChar char="•"/>
              <a:defRPr/>
            </a:pPr>
            <a:r>
              <a:rPr kumimoji="1" lang="en-US" sz="788" dirty="0">
                <a:solidFill>
                  <a:srgbClr val="000000">
                    <a:lumMod val="75000"/>
                    <a:lumOff val="25000"/>
                  </a:srgbClr>
                </a:solidFill>
                <a:latin typeface="Arial" panose="020B0604020202020204" pitchFamily="34" charset="0"/>
                <a:ea typeface="MS PGothic" panose="020B0600070205080204" pitchFamily="34" charset="-128"/>
                <a:cs typeface="Arial"/>
              </a:rPr>
              <a:t>Employ product value engineering </a:t>
            </a:r>
          </a:p>
          <a:p>
            <a:pPr marL="128588" indent="-128588" defTabSz="685800">
              <a:buFont typeface="Arial" panose="020B0604020202020204" pitchFamily="34" charset="0"/>
              <a:buChar char="•"/>
              <a:defRPr/>
            </a:pPr>
            <a:endParaRPr kumimoji="1" lang="en-US" sz="788" dirty="0">
              <a:solidFill>
                <a:srgbClr val="000000">
                  <a:lumMod val="75000"/>
                  <a:lumOff val="25000"/>
                </a:srgbClr>
              </a:solidFill>
              <a:latin typeface="Arial" panose="020B0604020202020204" pitchFamily="34" charset="0"/>
              <a:ea typeface="MS PGothic" panose="020B0600070205080204" pitchFamily="34" charset="-128"/>
              <a:cs typeface="Arial"/>
            </a:endParaRPr>
          </a:p>
          <a:p>
            <a:pPr marL="128588" indent="-128588" defTabSz="685800">
              <a:buFont typeface="Arial" panose="020B0604020202020204" pitchFamily="34" charset="0"/>
              <a:buChar char="•"/>
              <a:defRPr/>
            </a:pPr>
            <a:r>
              <a:rPr kumimoji="1" lang="en-US" sz="788" dirty="0">
                <a:solidFill>
                  <a:srgbClr val="000000">
                    <a:lumMod val="75000"/>
                    <a:lumOff val="25000"/>
                  </a:srgbClr>
                </a:solidFill>
                <a:latin typeface="Arial" panose="020B0604020202020204" pitchFamily="34" charset="0"/>
                <a:ea typeface="MS PGothic" panose="020B0600070205080204" pitchFamily="34" charset="-128"/>
                <a:cs typeface="Arial"/>
              </a:rPr>
              <a:t>Reduce indirect product costs via supply chain optimization</a:t>
            </a:r>
          </a:p>
        </p:txBody>
      </p:sp>
      <p:pic>
        <p:nvPicPr>
          <p:cNvPr id="32" name="Picture 2" descr="C:\Users\IBM_ADMIN\Desktop\ndvi-June.jpg"/>
          <p:cNvPicPr>
            <a:picLocks noChangeAspect="1" noChangeArrowheads="1"/>
          </p:cNvPicPr>
          <p:nvPr/>
        </p:nvPicPr>
        <p:blipFill>
          <a:blip r:embed="rId11"/>
          <a:srcRect/>
          <a:stretch>
            <a:fillRect/>
          </a:stretch>
        </p:blipFill>
        <p:spPr bwMode="auto">
          <a:xfrm>
            <a:off x="320278" y="2600325"/>
            <a:ext cx="1108472" cy="865585"/>
          </a:xfrm>
          <a:prstGeom prst="rect">
            <a:avLst/>
          </a:prstGeom>
          <a:solidFill>
            <a:schemeClr val="accent2"/>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12"/>
          <a:stretch>
            <a:fillRect/>
          </a:stretch>
        </p:blipFill>
        <p:spPr>
          <a:xfrm>
            <a:off x="985838" y="3195638"/>
            <a:ext cx="1237060" cy="875110"/>
          </a:xfrm>
          <a:prstGeom prst="rect">
            <a:avLst/>
          </a:prstGeom>
          <a:solidFill>
            <a:schemeClr val="accent2"/>
          </a:solidFill>
          <a:ln>
            <a:noFill/>
          </a:ln>
          <a:effectLst>
            <a:outerShdw blurRad="50800" dist="38100" dir="2700000" algn="tl" rotWithShape="0">
              <a:prstClr val="black">
                <a:alpha val="40000"/>
              </a:prstClr>
            </a:outerShdw>
          </a:effectLst>
        </p:spPr>
      </p:pic>
      <p:pic>
        <p:nvPicPr>
          <p:cNvPr id="3" name="Picture 2"/>
          <p:cNvPicPr>
            <a:picLocks noChangeAspect="1"/>
          </p:cNvPicPr>
          <p:nvPr/>
        </p:nvPicPr>
        <p:blipFill rotWithShape="1">
          <a:blip r:embed="rId13"/>
          <a:srcRect/>
          <a:stretch/>
        </p:blipFill>
        <p:spPr>
          <a:xfrm>
            <a:off x="313135" y="3801666"/>
            <a:ext cx="1232297" cy="857250"/>
          </a:xfrm>
          <a:prstGeom prst="rect">
            <a:avLst/>
          </a:prstGeom>
          <a:solidFill>
            <a:schemeClr val="accent2"/>
          </a:solidFill>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0794715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5"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6632" name="think-cell Slide" r:id="rId5" imgW="270" imgH="270" progId="TCLayout.ActiveDocument.1">
                  <p:embed/>
                </p:oleObj>
              </mc:Choice>
              <mc:Fallback>
                <p:oleObj name="think-cell Slide" r:id="rId5" imgW="270" imgH="270" progId="TCLayout.ActiveDocument.1">
                  <p:embed/>
                  <p:pic>
                    <p:nvPicPr>
                      <p:cNvPr id="18434"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7" name="Table 16"/>
          <p:cNvGraphicFramePr>
            <a:graphicFrameLocks noGrp="1"/>
          </p:cNvGraphicFramePr>
          <p:nvPr/>
        </p:nvGraphicFramePr>
        <p:xfrm>
          <a:off x="3059907" y="1501379"/>
          <a:ext cx="5798344" cy="3619501"/>
        </p:xfrm>
        <a:graphic>
          <a:graphicData uri="http://schemas.openxmlformats.org/drawingml/2006/table">
            <a:tbl>
              <a:tblPr/>
              <a:tblGrid>
                <a:gridCol w="1906191">
                  <a:extLst>
                    <a:ext uri="{9D8B030D-6E8A-4147-A177-3AD203B41FA5}">
                      <a16:colId xmlns="" xmlns:a16="http://schemas.microsoft.com/office/drawing/2014/main" val="20000"/>
                    </a:ext>
                  </a:extLst>
                </a:gridCol>
                <a:gridCol w="719138">
                  <a:extLst>
                    <a:ext uri="{9D8B030D-6E8A-4147-A177-3AD203B41FA5}">
                      <a16:colId xmlns="" xmlns:a16="http://schemas.microsoft.com/office/drawing/2014/main" val="20001"/>
                    </a:ext>
                  </a:extLst>
                </a:gridCol>
                <a:gridCol w="3173015">
                  <a:extLst>
                    <a:ext uri="{9D8B030D-6E8A-4147-A177-3AD203B41FA5}">
                      <a16:colId xmlns="" xmlns:a16="http://schemas.microsoft.com/office/drawing/2014/main" val="20002"/>
                    </a:ext>
                  </a:extLst>
                </a:gridCol>
              </a:tblGrid>
              <a:tr h="296466">
                <a:tc gridSpan="3">
                  <a:txBody>
                    <a:bodyPr/>
                    <a:lstStyle>
                      <a:lvl1pPr>
                        <a:spcBef>
                          <a:spcPct val="20000"/>
                        </a:spcBef>
                        <a:buClr>
                          <a:srgbClr val="00649D"/>
                        </a:buClr>
                        <a:buFont typeface="Wingdings" charset="2"/>
                        <a:defRPr sz="1600">
                          <a:solidFill>
                            <a:schemeClr val="tx1"/>
                          </a:solidFill>
                          <a:latin typeface="Arial" charset="0"/>
                          <a:ea typeface="Calibri" charset="0"/>
                          <a:cs typeface="Calibri" charset="0"/>
                        </a:defRPr>
                      </a:lvl1pPr>
                      <a:lvl2pPr marL="742950" indent="-285750">
                        <a:spcBef>
                          <a:spcPct val="20000"/>
                        </a:spcBef>
                        <a:buClr>
                          <a:srgbClr val="00649D"/>
                        </a:buClr>
                        <a:buFont typeface="Arial" charset="0"/>
                        <a:defRPr sz="1600">
                          <a:solidFill>
                            <a:schemeClr val="tx1"/>
                          </a:solidFill>
                          <a:latin typeface="Arial" charset="0"/>
                          <a:ea typeface="Calibri" charset="0"/>
                          <a:cs typeface="Calibri" charset="0"/>
                        </a:defRPr>
                      </a:lvl2pPr>
                      <a:lvl3pPr marL="1143000" indent="-228600">
                        <a:spcBef>
                          <a:spcPct val="20000"/>
                        </a:spcBef>
                        <a:buClr>
                          <a:srgbClr val="00649D"/>
                        </a:buClr>
                        <a:defRPr sz="1600">
                          <a:solidFill>
                            <a:schemeClr val="tx1"/>
                          </a:solidFill>
                          <a:latin typeface="Arial" charset="0"/>
                          <a:ea typeface="Calibri" charset="0"/>
                          <a:cs typeface="Calibri" charset="0"/>
                        </a:defRPr>
                      </a:lvl3pPr>
                      <a:lvl4pPr marL="1600200" indent="-228600">
                        <a:spcBef>
                          <a:spcPct val="20000"/>
                        </a:spcBef>
                        <a:buClr>
                          <a:srgbClr val="00649D"/>
                        </a:buClr>
                        <a:buFont typeface="Arial" charset="0"/>
                        <a:defRPr sz="1600">
                          <a:solidFill>
                            <a:schemeClr val="tx1"/>
                          </a:solidFill>
                          <a:latin typeface="Arial" charset="0"/>
                          <a:ea typeface="Calibri" charset="0"/>
                          <a:cs typeface="Calibri" charset="0"/>
                        </a:defRPr>
                      </a:lvl4pPr>
                      <a:lvl5pPr marL="2057400" indent="-228600">
                        <a:spcBef>
                          <a:spcPct val="20000"/>
                        </a:spcBef>
                        <a:buClr>
                          <a:srgbClr val="00649D"/>
                        </a:buClr>
                        <a:buFont typeface="Arial" charset="0"/>
                        <a:defRPr sz="1600">
                          <a:solidFill>
                            <a:schemeClr val="tx1"/>
                          </a:solidFill>
                          <a:latin typeface="Arial" charset="0"/>
                          <a:ea typeface="Calibri" charset="0"/>
                          <a:cs typeface="Calibri" charset="0"/>
                        </a:defRPr>
                      </a:lvl5pPr>
                      <a:lvl6pPr marL="25146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6pPr>
                      <a:lvl7pPr marL="29718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7pPr>
                      <a:lvl8pPr marL="34290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8pPr>
                      <a:lvl9pPr marL="38862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a:ln>
                            <a:noFill/>
                          </a:ln>
                          <a:solidFill>
                            <a:schemeClr val="bg1"/>
                          </a:solidFill>
                          <a:effectLst/>
                          <a:latin typeface="Arial" charset="0"/>
                          <a:ea typeface="MS PGothic" charset="-128"/>
                        </a:rPr>
                        <a:t>Early Warning System</a:t>
                      </a:r>
                    </a:p>
                  </a:txBody>
                  <a:tcPr marL="68576" marR="68576" marT="34292" marB="34292"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10000"/>
                  </a:ext>
                </a:extLst>
              </a:tr>
              <a:tr h="1414463">
                <a:tc>
                  <a:txBody>
                    <a:bodyPr/>
                    <a:lstStyle>
                      <a:lvl1pPr marL="228600" indent="-228600">
                        <a:spcBef>
                          <a:spcPct val="20000"/>
                        </a:spcBef>
                        <a:buClr>
                          <a:srgbClr val="00649D"/>
                        </a:buClr>
                        <a:buFont typeface="Wingdings" charset="2"/>
                        <a:defRPr sz="1600">
                          <a:solidFill>
                            <a:schemeClr val="tx1"/>
                          </a:solidFill>
                          <a:latin typeface="Arial" charset="0"/>
                          <a:ea typeface="Calibri" charset="0"/>
                          <a:cs typeface="Calibri" charset="0"/>
                        </a:defRPr>
                      </a:lvl1pPr>
                      <a:lvl2pPr marL="742950" indent="-285750">
                        <a:spcBef>
                          <a:spcPct val="20000"/>
                        </a:spcBef>
                        <a:buClr>
                          <a:srgbClr val="00649D"/>
                        </a:buClr>
                        <a:buFont typeface="Arial" charset="0"/>
                        <a:defRPr sz="1600">
                          <a:solidFill>
                            <a:schemeClr val="tx1"/>
                          </a:solidFill>
                          <a:latin typeface="Arial" charset="0"/>
                          <a:ea typeface="Calibri" charset="0"/>
                          <a:cs typeface="Calibri" charset="0"/>
                        </a:defRPr>
                      </a:lvl2pPr>
                      <a:lvl3pPr marL="1143000" indent="-228600">
                        <a:spcBef>
                          <a:spcPct val="20000"/>
                        </a:spcBef>
                        <a:buClr>
                          <a:srgbClr val="00649D"/>
                        </a:buClr>
                        <a:defRPr sz="1600">
                          <a:solidFill>
                            <a:schemeClr val="tx1"/>
                          </a:solidFill>
                          <a:latin typeface="Arial" charset="0"/>
                          <a:ea typeface="Calibri" charset="0"/>
                          <a:cs typeface="Calibri" charset="0"/>
                        </a:defRPr>
                      </a:lvl3pPr>
                      <a:lvl4pPr marL="1600200" indent="-228600">
                        <a:spcBef>
                          <a:spcPct val="20000"/>
                        </a:spcBef>
                        <a:buClr>
                          <a:srgbClr val="00649D"/>
                        </a:buClr>
                        <a:buFont typeface="Arial" charset="0"/>
                        <a:defRPr sz="1600">
                          <a:solidFill>
                            <a:schemeClr val="tx1"/>
                          </a:solidFill>
                          <a:latin typeface="Arial" charset="0"/>
                          <a:ea typeface="Calibri" charset="0"/>
                          <a:cs typeface="Calibri" charset="0"/>
                        </a:defRPr>
                      </a:lvl4pPr>
                      <a:lvl5pPr marL="2057400" indent="-228600">
                        <a:spcBef>
                          <a:spcPct val="20000"/>
                        </a:spcBef>
                        <a:buClr>
                          <a:srgbClr val="00649D"/>
                        </a:buClr>
                        <a:buFont typeface="Arial" charset="0"/>
                        <a:defRPr sz="1600">
                          <a:solidFill>
                            <a:schemeClr val="tx1"/>
                          </a:solidFill>
                          <a:latin typeface="Arial" charset="0"/>
                          <a:ea typeface="Calibri" charset="0"/>
                          <a:cs typeface="Calibri" charset="0"/>
                        </a:defRPr>
                      </a:lvl5pPr>
                      <a:lvl6pPr marL="25146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6pPr>
                      <a:lvl7pPr marL="29718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7pPr>
                      <a:lvl8pPr marL="34290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8pPr>
                      <a:lvl9pPr marL="38862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9pPr>
                    </a:lstStyle>
                    <a:p>
                      <a:pPr marL="228600" marR="0" lvl="0" indent="-228600" algn="l" defTabSz="914400" rtl="0" eaLnBrk="1" fontAlgn="base" latinLnBrk="0" hangingPunct="1">
                        <a:lnSpc>
                          <a:spcPct val="100000"/>
                        </a:lnSpc>
                        <a:spcBef>
                          <a:spcPct val="0"/>
                        </a:spcBef>
                        <a:spcAft>
                          <a:spcPct val="0"/>
                        </a:spcAft>
                        <a:buClrTx/>
                        <a:buSzTx/>
                        <a:buFont typeface="Wingdings" charset="2"/>
                        <a:buChar char="§"/>
                        <a:tabLst/>
                      </a:pPr>
                      <a:r>
                        <a:rPr kumimoji="0" lang="en-US" altLang="en-US" sz="1100" b="0" i="0" u="none" strike="noStrike" cap="none" normalizeH="0" baseline="0">
                          <a:ln>
                            <a:noFill/>
                          </a:ln>
                          <a:solidFill>
                            <a:srgbClr val="000000"/>
                          </a:solidFill>
                          <a:effectLst/>
                          <a:latin typeface="Arial" charset="0"/>
                          <a:ea typeface="MS PGothic" charset="-128"/>
                        </a:rPr>
                        <a:t>Analytics-generated alerts indicating possible gaps in performance</a:t>
                      </a:r>
                    </a:p>
                    <a:p>
                      <a:pPr marL="228600" marR="0" lvl="0" indent="-228600" algn="ctr" defTabSz="914400" rtl="0" eaLnBrk="1" fontAlgn="base" latinLnBrk="0" hangingPunct="1">
                        <a:lnSpc>
                          <a:spcPct val="100000"/>
                        </a:lnSpc>
                        <a:spcBef>
                          <a:spcPct val="0"/>
                        </a:spcBef>
                        <a:spcAft>
                          <a:spcPct val="0"/>
                        </a:spcAft>
                        <a:buClrTx/>
                        <a:buSzTx/>
                        <a:buFont typeface="Wingdings" charset="2"/>
                        <a:buChar char="§"/>
                        <a:tabLst/>
                      </a:pPr>
                      <a:endParaRPr kumimoji="0" lang="en-US" altLang="en-US" sz="1100" b="0" i="0" u="none" strike="noStrike" cap="none" normalizeH="0" baseline="0">
                        <a:ln>
                          <a:noFill/>
                        </a:ln>
                        <a:solidFill>
                          <a:srgbClr val="000000"/>
                        </a:solidFill>
                        <a:effectLst/>
                        <a:latin typeface="Arial" charset="0"/>
                        <a:ea typeface="MS PGothic" charset="-128"/>
                      </a:endParaRPr>
                    </a:p>
                    <a:p>
                      <a:pPr marL="228600" marR="0" lvl="0" indent="-228600" algn="ctr" defTabSz="914400" rtl="0" eaLnBrk="1" fontAlgn="base" latinLnBrk="0" hangingPunct="1">
                        <a:lnSpc>
                          <a:spcPct val="100000"/>
                        </a:lnSpc>
                        <a:spcBef>
                          <a:spcPct val="0"/>
                        </a:spcBef>
                        <a:spcAft>
                          <a:spcPct val="0"/>
                        </a:spcAft>
                        <a:buClrTx/>
                        <a:buSzTx/>
                        <a:buFont typeface="Wingdings" charset="2"/>
                        <a:buNone/>
                        <a:tabLst/>
                      </a:pPr>
                      <a:r>
                        <a:rPr kumimoji="0" lang="en-US" altLang="en-US" sz="1100" b="1" i="1" u="none" strike="noStrike" cap="none" normalizeH="0" baseline="0">
                          <a:ln>
                            <a:noFill/>
                          </a:ln>
                          <a:solidFill>
                            <a:schemeClr val="tx2"/>
                          </a:solidFill>
                          <a:effectLst/>
                          <a:latin typeface="Arial" charset="0"/>
                          <a:ea typeface="MS PGothic" charset="-128"/>
                        </a:rPr>
                        <a:t>Proactively address potential risks and opportunities</a:t>
                      </a:r>
                    </a:p>
                  </a:txBody>
                  <a:tcPr marL="68576" marR="68576" marT="34292" marB="34292" anchor="ctr" horzOverflow="overflow">
                    <a:lnL w="12700" cap="flat" cmpd="sng" algn="ctr">
                      <a:solidFill>
                        <a:srgbClr val="A6A6A6"/>
                      </a:solidFill>
                      <a:prstDash val="solid"/>
                      <a:round/>
                      <a:headEnd type="none" w="med" len="med"/>
                      <a:tailEnd type="none" w="med" len="med"/>
                    </a:lnL>
                    <a:lnR w="28575" cap="flat" cmpd="sng" algn="ctr">
                      <a:solidFill>
                        <a:srgbClr val="A6A6A6"/>
                      </a:solidFill>
                      <a:prstDash val="sysDot"/>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c gridSpan="2">
                  <a:txBody>
                    <a:bodyPr/>
                    <a:lstStyle>
                      <a:lvl1pPr marL="228600" indent="-228600">
                        <a:spcBef>
                          <a:spcPct val="20000"/>
                        </a:spcBef>
                        <a:buClr>
                          <a:srgbClr val="00649D"/>
                        </a:buClr>
                        <a:buFont typeface="Wingdings" charset="2"/>
                        <a:defRPr sz="1600">
                          <a:solidFill>
                            <a:schemeClr val="tx1"/>
                          </a:solidFill>
                          <a:latin typeface="Arial" charset="0"/>
                          <a:ea typeface="Calibri" charset="0"/>
                          <a:cs typeface="Calibri" charset="0"/>
                        </a:defRPr>
                      </a:lvl1pPr>
                      <a:lvl2pPr marL="742950" indent="-285750">
                        <a:spcBef>
                          <a:spcPct val="20000"/>
                        </a:spcBef>
                        <a:buClr>
                          <a:srgbClr val="00649D"/>
                        </a:buClr>
                        <a:buFont typeface="Arial" charset="0"/>
                        <a:defRPr sz="1600">
                          <a:solidFill>
                            <a:schemeClr val="tx1"/>
                          </a:solidFill>
                          <a:latin typeface="Arial" charset="0"/>
                          <a:ea typeface="Calibri" charset="0"/>
                          <a:cs typeface="Calibri" charset="0"/>
                        </a:defRPr>
                      </a:lvl2pPr>
                      <a:lvl3pPr marL="1143000" indent="-228600">
                        <a:spcBef>
                          <a:spcPct val="20000"/>
                        </a:spcBef>
                        <a:buClr>
                          <a:srgbClr val="00649D"/>
                        </a:buClr>
                        <a:defRPr sz="1600">
                          <a:solidFill>
                            <a:schemeClr val="tx1"/>
                          </a:solidFill>
                          <a:latin typeface="Arial" charset="0"/>
                          <a:ea typeface="Calibri" charset="0"/>
                          <a:cs typeface="Calibri" charset="0"/>
                        </a:defRPr>
                      </a:lvl3pPr>
                      <a:lvl4pPr marL="1600200" indent="-228600">
                        <a:spcBef>
                          <a:spcPct val="20000"/>
                        </a:spcBef>
                        <a:buClr>
                          <a:srgbClr val="00649D"/>
                        </a:buClr>
                        <a:buFont typeface="Arial" charset="0"/>
                        <a:defRPr sz="1600">
                          <a:solidFill>
                            <a:schemeClr val="tx1"/>
                          </a:solidFill>
                          <a:latin typeface="Arial" charset="0"/>
                          <a:ea typeface="Calibri" charset="0"/>
                          <a:cs typeface="Calibri" charset="0"/>
                        </a:defRPr>
                      </a:lvl4pPr>
                      <a:lvl5pPr marL="2057400" indent="-228600">
                        <a:spcBef>
                          <a:spcPct val="20000"/>
                        </a:spcBef>
                        <a:buClr>
                          <a:srgbClr val="00649D"/>
                        </a:buClr>
                        <a:buFont typeface="Arial" charset="0"/>
                        <a:defRPr sz="1600">
                          <a:solidFill>
                            <a:schemeClr val="tx1"/>
                          </a:solidFill>
                          <a:latin typeface="Arial" charset="0"/>
                          <a:ea typeface="Calibri" charset="0"/>
                          <a:cs typeface="Calibri" charset="0"/>
                        </a:defRPr>
                      </a:lvl5pPr>
                      <a:lvl6pPr marL="25146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6pPr>
                      <a:lvl7pPr marL="29718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7pPr>
                      <a:lvl8pPr marL="34290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8pPr>
                      <a:lvl9pPr marL="38862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9pPr>
                    </a:lstStyle>
                    <a:p>
                      <a:pPr marL="228600" marR="0" lvl="0" indent="-228600" algn="l" defTabSz="914400" rtl="0" eaLnBrk="1" fontAlgn="base" latinLnBrk="0" hangingPunct="1">
                        <a:lnSpc>
                          <a:spcPct val="100000"/>
                        </a:lnSpc>
                        <a:spcBef>
                          <a:spcPct val="0"/>
                        </a:spcBef>
                        <a:spcAft>
                          <a:spcPct val="0"/>
                        </a:spcAft>
                        <a:buClrTx/>
                        <a:buSzTx/>
                        <a:buFont typeface="Wingdings" charset="2"/>
                        <a:buChar char="§"/>
                        <a:tabLst/>
                      </a:pPr>
                      <a:endParaRPr kumimoji="0" lang="en-US" altLang="en-US" sz="1100" b="0" i="0" u="none" strike="noStrike" cap="none" normalizeH="0" baseline="0">
                        <a:ln>
                          <a:noFill/>
                        </a:ln>
                        <a:solidFill>
                          <a:srgbClr val="000000"/>
                        </a:solidFill>
                        <a:effectLst/>
                        <a:latin typeface="Arial" charset="0"/>
                        <a:ea typeface="MS PGothic" charset="-128"/>
                      </a:endParaRPr>
                    </a:p>
                  </a:txBody>
                  <a:tcPr marL="68576" marR="68576" marT="34292" marB="34292" anchor="ctr" horzOverflow="overflow">
                    <a:lnL w="28575" cap="flat" cmpd="sng" algn="ctr">
                      <a:solidFill>
                        <a:srgbClr val="A6A6A6"/>
                      </a:solidFill>
                      <a:prstDash val="sysDot"/>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 xmlns:a16="http://schemas.microsoft.com/office/drawing/2014/main" val="10001"/>
                  </a:ext>
                </a:extLst>
              </a:tr>
              <a:tr h="296466">
                <a:tc gridSpan="3">
                  <a:txBody>
                    <a:bodyPr/>
                    <a:lstStyle>
                      <a:lvl1pPr>
                        <a:spcBef>
                          <a:spcPct val="20000"/>
                        </a:spcBef>
                        <a:buClr>
                          <a:srgbClr val="00649D"/>
                        </a:buClr>
                        <a:buFont typeface="Wingdings" charset="2"/>
                        <a:defRPr sz="1600">
                          <a:solidFill>
                            <a:schemeClr val="tx1"/>
                          </a:solidFill>
                          <a:latin typeface="Arial" charset="0"/>
                          <a:ea typeface="Calibri" charset="0"/>
                          <a:cs typeface="Calibri" charset="0"/>
                        </a:defRPr>
                      </a:lvl1pPr>
                      <a:lvl2pPr marL="742950" indent="-285750">
                        <a:spcBef>
                          <a:spcPct val="20000"/>
                        </a:spcBef>
                        <a:buClr>
                          <a:srgbClr val="00649D"/>
                        </a:buClr>
                        <a:buFont typeface="Arial" charset="0"/>
                        <a:defRPr sz="1600">
                          <a:solidFill>
                            <a:schemeClr val="tx1"/>
                          </a:solidFill>
                          <a:latin typeface="Arial" charset="0"/>
                          <a:ea typeface="Calibri" charset="0"/>
                          <a:cs typeface="Calibri" charset="0"/>
                        </a:defRPr>
                      </a:lvl2pPr>
                      <a:lvl3pPr marL="1143000" indent="-228600">
                        <a:spcBef>
                          <a:spcPct val="20000"/>
                        </a:spcBef>
                        <a:buClr>
                          <a:srgbClr val="00649D"/>
                        </a:buClr>
                        <a:defRPr sz="1600">
                          <a:solidFill>
                            <a:schemeClr val="tx1"/>
                          </a:solidFill>
                          <a:latin typeface="Arial" charset="0"/>
                          <a:ea typeface="Calibri" charset="0"/>
                          <a:cs typeface="Calibri" charset="0"/>
                        </a:defRPr>
                      </a:lvl3pPr>
                      <a:lvl4pPr marL="1600200" indent="-228600">
                        <a:spcBef>
                          <a:spcPct val="20000"/>
                        </a:spcBef>
                        <a:buClr>
                          <a:srgbClr val="00649D"/>
                        </a:buClr>
                        <a:buFont typeface="Arial" charset="0"/>
                        <a:defRPr sz="1600">
                          <a:solidFill>
                            <a:schemeClr val="tx1"/>
                          </a:solidFill>
                          <a:latin typeface="Arial" charset="0"/>
                          <a:ea typeface="Calibri" charset="0"/>
                          <a:cs typeface="Calibri" charset="0"/>
                        </a:defRPr>
                      </a:lvl4pPr>
                      <a:lvl5pPr marL="2057400" indent="-228600">
                        <a:spcBef>
                          <a:spcPct val="20000"/>
                        </a:spcBef>
                        <a:buClr>
                          <a:srgbClr val="00649D"/>
                        </a:buClr>
                        <a:buFont typeface="Arial" charset="0"/>
                        <a:defRPr sz="1600">
                          <a:solidFill>
                            <a:schemeClr val="tx1"/>
                          </a:solidFill>
                          <a:latin typeface="Arial" charset="0"/>
                          <a:ea typeface="Calibri" charset="0"/>
                          <a:cs typeface="Calibri" charset="0"/>
                        </a:defRPr>
                      </a:lvl5pPr>
                      <a:lvl6pPr marL="25146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6pPr>
                      <a:lvl7pPr marL="29718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7pPr>
                      <a:lvl8pPr marL="34290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8pPr>
                      <a:lvl9pPr marL="38862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a:ln>
                            <a:noFill/>
                          </a:ln>
                          <a:solidFill>
                            <a:schemeClr val="bg1"/>
                          </a:solidFill>
                          <a:effectLst/>
                          <a:latin typeface="Arial" charset="0"/>
                          <a:ea typeface="MS PGothic" charset="-128"/>
                        </a:rPr>
                        <a:t>Consumable Visualizations: Evidence-based Recommendations</a:t>
                      </a:r>
                    </a:p>
                  </a:txBody>
                  <a:tcPr marL="68576" marR="68576" marT="34292" marB="34292"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10002"/>
                  </a:ext>
                </a:extLst>
              </a:tr>
              <a:tr h="1612106">
                <a:tc gridSpan="2">
                  <a:txBody>
                    <a:bodyPr/>
                    <a:lstStyle>
                      <a:lvl1pPr marL="228600" indent="-228600">
                        <a:spcBef>
                          <a:spcPct val="20000"/>
                        </a:spcBef>
                        <a:buClr>
                          <a:srgbClr val="00649D"/>
                        </a:buClr>
                        <a:buFont typeface="Wingdings" charset="2"/>
                        <a:defRPr sz="1600">
                          <a:solidFill>
                            <a:schemeClr val="tx1"/>
                          </a:solidFill>
                          <a:latin typeface="Arial" charset="0"/>
                          <a:ea typeface="Calibri" charset="0"/>
                          <a:cs typeface="Calibri" charset="0"/>
                        </a:defRPr>
                      </a:lvl1pPr>
                      <a:lvl2pPr marL="742950" indent="-285750">
                        <a:spcBef>
                          <a:spcPct val="20000"/>
                        </a:spcBef>
                        <a:buClr>
                          <a:srgbClr val="00649D"/>
                        </a:buClr>
                        <a:buFont typeface="Arial" charset="0"/>
                        <a:defRPr sz="1600">
                          <a:solidFill>
                            <a:schemeClr val="tx1"/>
                          </a:solidFill>
                          <a:latin typeface="Arial" charset="0"/>
                          <a:ea typeface="Calibri" charset="0"/>
                          <a:cs typeface="Calibri" charset="0"/>
                        </a:defRPr>
                      </a:lvl2pPr>
                      <a:lvl3pPr marL="1143000" indent="-228600">
                        <a:spcBef>
                          <a:spcPct val="20000"/>
                        </a:spcBef>
                        <a:buClr>
                          <a:srgbClr val="00649D"/>
                        </a:buClr>
                        <a:defRPr sz="1600">
                          <a:solidFill>
                            <a:schemeClr val="tx1"/>
                          </a:solidFill>
                          <a:latin typeface="Arial" charset="0"/>
                          <a:ea typeface="Calibri" charset="0"/>
                          <a:cs typeface="Calibri" charset="0"/>
                        </a:defRPr>
                      </a:lvl3pPr>
                      <a:lvl4pPr marL="1600200" indent="-228600">
                        <a:spcBef>
                          <a:spcPct val="20000"/>
                        </a:spcBef>
                        <a:buClr>
                          <a:srgbClr val="00649D"/>
                        </a:buClr>
                        <a:buFont typeface="Arial" charset="0"/>
                        <a:defRPr sz="1600">
                          <a:solidFill>
                            <a:schemeClr val="tx1"/>
                          </a:solidFill>
                          <a:latin typeface="Arial" charset="0"/>
                          <a:ea typeface="Calibri" charset="0"/>
                          <a:cs typeface="Calibri" charset="0"/>
                        </a:defRPr>
                      </a:lvl4pPr>
                      <a:lvl5pPr marL="2057400" indent="-228600">
                        <a:spcBef>
                          <a:spcPct val="20000"/>
                        </a:spcBef>
                        <a:buClr>
                          <a:srgbClr val="00649D"/>
                        </a:buClr>
                        <a:buFont typeface="Arial" charset="0"/>
                        <a:defRPr sz="1600">
                          <a:solidFill>
                            <a:schemeClr val="tx1"/>
                          </a:solidFill>
                          <a:latin typeface="Arial" charset="0"/>
                          <a:ea typeface="Calibri" charset="0"/>
                          <a:cs typeface="Calibri" charset="0"/>
                        </a:defRPr>
                      </a:lvl5pPr>
                      <a:lvl6pPr marL="25146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6pPr>
                      <a:lvl7pPr marL="29718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7pPr>
                      <a:lvl8pPr marL="34290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8pPr>
                      <a:lvl9pPr marL="38862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9pPr>
                    </a:lstStyle>
                    <a:p>
                      <a:pPr marL="228600" marR="0" lvl="0" indent="-228600" algn="l" defTabSz="914400" rtl="0" eaLnBrk="1" fontAlgn="base" latinLnBrk="0" hangingPunct="1">
                        <a:lnSpc>
                          <a:spcPct val="100000"/>
                        </a:lnSpc>
                        <a:spcBef>
                          <a:spcPct val="0"/>
                        </a:spcBef>
                        <a:spcAft>
                          <a:spcPct val="0"/>
                        </a:spcAft>
                        <a:buClrTx/>
                        <a:buSzTx/>
                        <a:buFont typeface="Wingdings" charset="2"/>
                        <a:buChar char="§"/>
                        <a:tabLst/>
                      </a:pPr>
                      <a:r>
                        <a:rPr kumimoji="0" lang="en-US" altLang="en-US" sz="1100" b="0" i="0" u="none" strike="noStrike" cap="none" normalizeH="0" baseline="0">
                          <a:ln>
                            <a:noFill/>
                          </a:ln>
                          <a:solidFill>
                            <a:srgbClr val="000000"/>
                          </a:solidFill>
                          <a:effectLst/>
                          <a:latin typeface="Arial" charset="0"/>
                          <a:ea typeface="MS PGothic" charset="-128"/>
                        </a:rPr>
                        <a:t>A visualization dashboard to show possible views to consume analytical insights &amp; various performance metrics </a:t>
                      </a:r>
                    </a:p>
                    <a:p>
                      <a:pPr marL="228600" marR="0" lvl="0" indent="-228600" algn="l" defTabSz="914400" rtl="0" eaLnBrk="1" fontAlgn="base" latinLnBrk="0" hangingPunct="1">
                        <a:lnSpc>
                          <a:spcPct val="100000"/>
                        </a:lnSpc>
                        <a:spcBef>
                          <a:spcPct val="0"/>
                        </a:spcBef>
                        <a:spcAft>
                          <a:spcPct val="0"/>
                        </a:spcAft>
                        <a:buClrTx/>
                        <a:buSzTx/>
                        <a:buFont typeface="Wingdings" charset="2"/>
                        <a:buChar char="§"/>
                        <a:tabLst/>
                      </a:pPr>
                      <a:endParaRPr kumimoji="0" lang="en-US" altLang="en-US" sz="1100" b="0" i="0" u="none" strike="noStrike" cap="none" normalizeH="0" baseline="0">
                        <a:ln>
                          <a:noFill/>
                        </a:ln>
                        <a:solidFill>
                          <a:srgbClr val="000000"/>
                        </a:solidFill>
                        <a:effectLst/>
                        <a:latin typeface="Arial" charset="0"/>
                        <a:ea typeface="MS PGothic" charset="-128"/>
                      </a:endParaRPr>
                    </a:p>
                    <a:p>
                      <a:pPr marL="228600" marR="0" lvl="0" indent="-228600" algn="ctr" defTabSz="914400" rtl="0" eaLnBrk="1" fontAlgn="base" latinLnBrk="0" hangingPunct="1">
                        <a:lnSpc>
                          <a:spcPct val="100000"/>
                        </a:lnSpc>
                        <a:spcBef>
                          <a:spcPct val="0"/>
                        </a:spcBef>
                        <a:spcAft>
                          <a:spcPct val="0"/>
                        </a:spcAft>
                        <a:buClrTx/>
                        <a:buSzTx/>
                        <a:buFont typeface="Wingdings" charset="2"/>
                        <a:buNone/>
                        <a:tabLst/>
                      </a:pPr>
                      <a:r>
                        <a:rPr kumimoji="0" lang="en-US" altLang="en-US" sz="1100" b="1" i="1" u="none" strike="noStrike" cap="none" normalizeH="0" baseline="0">
                          <a:ln>
                            <a:noFill/>
                          </a:ln>
                          <a:solidFill>
                            <a:schemeClr val="tx2"/>
                          </a:solidFill>
                          <a:effectLst/>
                          <a:latin typeface="Arial" charset="0"/>
                          <a:ea typeface="MS PGothic" charset="-128"/>
                        </a:rPr>
                        <a:t>Align various stakeholders on most impactful KPIs across the organization </a:t>
                      </a:r>
                    </a:p>
                    <a:p>
                      <a:pPr marL="228600" marR="0" lvl="0" indent="-228600" algn="l" defTabSz="914400" rtl="0" eaLnBrk="1" fontAlgn="base" latinLnBrk="0" hangingPunct="1">
                        <a:lnSpc>
                          <a:spcPct val="100000"/>
                        </a:lnSpc>
                        <a:spcBef>
                          <a:spcPct val="0"/>
                        </a:spcBef>
                        <a:spcAft>
                          <a:spcPct val="0"/>
                        </a:spcAft>
                        <a:buClrTx/>
                        <a:buSzTx/>
                        <a:buFont typeface="Wingdings" charset="2"/>
                        <a:buChar char="§"/>
                        <a:tabLst/>
                      </a:pPr>
                      <a:endParaRPr kumimoji="0" lang="en-US" altLang="en-US" sz="1100" b="0" i="0" u="none" strike="noStrike" cap="none" normalizeH="0" baseline="0">
                        <a:ln>
                          <a:noFill/>
                        </a:ln>
                        <a:solidFill>
                          <a:srgbClr val="000000"/>
                        </a:solidFill>
                        <a:effectLst/>
                        <a:latin typeface="Arial" charset="0"/>
                        <a:ea typeface="MS PGothic" charset="-128"/>
                      </a:endParaRPr>
                    </a:p>
                  </a:txBody>
                  <a:tcPr marL="68576" marR="68576" marT="34292" marB="34292" anchor="ctr" horzOverflow="overflow">
                    <a:lnL w="12700" cap="flat" cmpd="sng" algn="ctr">
                      <a:solidFill>
                        <a:srgbClr val="A6A6A6"/>
                      </a:solidFill>
                      <a:prstDash val="solid"/>
                      <a:round/>
                      <a:headEnd type="none" w="med" len="med"/>
                      <a:tailEnd type="none" w="med" len="med"/>
                    </a:lnL>
                    <a:lnR w="28575" cap="flat" cmpd="sng" algn="ctr">
                      <a:solidFill>
                        <a:srgbClr val="A6A6A6"/>
                      </a:solidFill>
                      <a:prstDash val="sysDot"/>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c hMerge="1">
                  <a:txBody>
                    <a:bodyPr/>
                    <a:lstStyle/>
                    <a:p>
                      <a:endParaRPr lang="en-US"/>
                    </a:p>
                  </a:txBody>
                  <a:tcPr/>
                </a:tc>
                <a:tc>
                  <a:txBody>
                    <a:bodyPr/>
                    <a:lstStyle>
                      <a:lvl1pPr>
                        <a:spcBef>
                          <a:spcPct val="20000"/>
                        </a:spcBef>
                        <a:buClr>
                          <a:srgbClr val="00649D"/>
                        </a:buClr>
                        <a:buFont typeface="Wingdings" charset="2"/>
                        <a:defRPr sz="1600">
                          <a:solidFill>
                            <a:schemeClr val="tx1"/>
                          </a:solidFill>
                          <a:latin typeface="Arial" charset="0"/>
                          <a:ea typeface="Calibri" charset="0"/>
                          <a:cs typeface="Calibri" charset="0"/>
                        </a:defRPr>
                      </a:lvl1pPr>
                      <a:lvl2pPr marL="742950" indent="-285750">
                        <a:spcBef>
                          <a:spcPct val="20000"/>
                        </a:spcBef>
                        <a:buClr>
                          <a:srgbClr val="00649D"/>
                        </a:buClr>
                        <a:buFont typeface="Arial" charset="0"/>
                        <a:defRPr sz="1600">
                          <a:solidFill>
                            <a:schemeClr val="tx1"/>
                          </a:solidFill>
                          <a:latin typeface="Arial" charset="0"/>
                          <a:ea typeface="Calibri" charset="0"/>
                          <a:cs typeface="Calibri" charset="0"/>
                        </a:defRPr>
                      </a:lvl2pPr>
                      <a:lvl3pPr marL="1143000" indent="-228600">
                        <a:spcBef>
                          <a:spcPct val="20000"/>
                        </a:spcBef>
                        <a:buClr>
                          <a:srgbClr val="00649D"/>
                        </a:buClr>
                        <a:defRPr sz="1600">
                          <a:solidFill>
                            <a:schemeClr val="tx1"/>
                          </a:solidFill>
                          <a:latin typeface="Arial" charset="0"/>
                          <a:ea typeface="Calibri" charset="0"/>
                          <a:cs typeface="Calibri" charset="0"/>
                        </a:defRPr>
                      </a:lvl3pPr>
                      <a:lvl4pPr marL="1600200" indent="-228600">
                        <a:spcBef>
                          <a:spcPct val="20000"/>
                        </a:spcBef>
                        <a:buClr>
                          <a:srgbClr val="00649D"/>
                        </a:buClr>
                        <a:buFont typeface="Arial" charset="0"/>
                        <a:defRPr sz="1600">
                          <a:solidFill>
                            <a:schemeClr val="tx1"/>
                          </a:solidFill>
                          <a:latin typeface="Arial" charset="0"/>
                          <a:ea typeface="Calibri" charset="0"/>
                          <a:cs typeface="Calibri" charset="0"/>
                        </a:defRPr>
                      </a:lvl4pPr>
                      <a:lvl5pPr marL="2057400" indent="-228600">
                        <a:spcBef>
                          <a:spcPct val="20000"/>
                        </a:spcBef>
                        <a:buClr>
                          <a:srgbClr val="00649D"/>
                        </a:buClr>
                        <a:buFont typeface="Arial" charset="0"/>
                        <a:defRPr sz="1600">
                          <a:solidFill>
                            <a:schemeClr val="tx1"/>
                          </a:solidFill>
                          <a:latin typeface="Arial" charset="0"/>
                          <a:ea typeface="Calibri" charset="0"/>
                          <a:cs typeface="Calibri" charset="0"/>
                        </a:defRPr>
                      </a:lvl5pPr>
                      <a:lvl6pPr marL="25146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6pPr>
                      <a:lvl7pPr marL="29718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7pPr>
                      <a:lvl8pPr marL="34290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8pPr>
                      <a:lvl9pPr marL="3886200" indent="-228600" eaLnBrk="0" fontAlgn="base" hangingPunct="0">
                        <a:spcBef>
                          <a:spcPct val="20000"/>
                        </a:spcBef>
                        <a:spcAft>
                          <a:spcPct val="0"/>
                        </a:spcAft>
                        <a:buClr>
                          <a:srgbClr val="00649D"/>
                        </a:buClr>
                        <a:buFont typeface="Arial" charset="0"/>
                        <a:defRPr sz="1600">
                          <a:solidFill>
                            <a:schemeClr val="tx1"/>
                          </a:solidFill>
                          <a:latin typeface="Arial" charset="0"/>
                          <a:ea typeface="Calibri" charset="0"/>
                          <a:cs typeface="Calibri"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2100" b="0" i="0" u="none" strike="noStrike" cap="none" normalizeH="0" baseline="0">
                        <a:ln>
                          <a:noFill/>
                        </a:ln>
                        <a:solidFill>
                          <a:srgbClr val="000000"/>
                        </a:solidFill>
                        <a:effectLst/>
                        <a:latin typeface="Arial" charset="0"/>
                        <a:ea typeface="MS PGothic" charset="-128"/>
                      </a:endParaRPr>
                    </a:p>
                  </a:txBody>
                  <a:tcPr marL="68576" marR="68576" marT="34292" marB="34292" anchor="ctr" horzOverflow="overflow">
                    <a:lnL w="28575" cap="flat" cmpd="sng" algn="ctr">
                      <a:solidFill>
                        <a:srgbClr val="A6A6A6"/>
                      </a:solidFill>
                      <a:prstDash val="sysDot"/>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3"/>
                  </a:ext>
                </a:extLst>
              </a:tr>
            </a:tbl>
          </a:graphicData>
        </a:graphic>
      </p:graphicFrame>
      <p:sp>
        <p:nvSpPr>
          <p:cNvPr id="15" name="Right Arrow 14"/>
          <p:cNvSpPr/>
          <p:nvPr/>
        </p:nvSpPr>
        <p:spPr bwMode="auto">
          <a:xfrm>
            <a:off x="2382442" y="2570560"/>
            <a:ext cx="648890" cy="1293019"/>
          </a:xfrm>
          <a:prstGeom prst="rightArrow">
            <a:avLst/>
          </a:prstGeom>
          <a:solidFill>
            <a:schemeClr val="bg1">
              <a:lumMod val="65000"/>
            </a:schemeClr>
          </a:solidFill>
          <a:ln w="9525" cap="flat" cmpd="sng" algn="ctr">
            <a:noFill/>
            <a:prstDash val="solid"/>
            <a:round/>
            <a:headEnd type="none" w="med" len="med"/>
            <a:tailEnd type="none" w="med" len="med"/>
          </a:ln>
          <a:effectLst/>
        </p:spPr>
        <p:txBody>
          <a:bodyPr lIns="68564" tIns="34282" rIns="68564" bIns="34282"/>
          <a:lstStyle/>
          <a:p>
            <a:pPr algn="ctr" defTabSz="685620" eaLnBrk="0" fontAlgn="base" hangingPunct="0">
              <a:spcBef>
                <a:spcPct val="0"/>
              </a:spcBef>
              <a:spcAft>
                <a:spcPct val="0"/>
              </a:spcAft>
              <a:defRPr/>
            </a:pPr>
            <a:endParaRPr lang="en-US" sz="812" dirty="0">
              <a:solidFill>
                <a:srgbClr val="004266"/>
              </a:solidFill>
              <a:latin typeface="Arial" panose="020B0604020202020204" pitchFamily="34" charset="0"/>
              <a:ea typeface="MS PGothic" charset="-128"/>
              <a:cs typeface="Arial"/>
            </a:endParaRPr>
          </a:p>
        </p:txBody>
      </p:sp>
      <p:sp>
        <p:nvSpPr>
          <p:cNvPr id="2" name="Title 1"/>
          <p:cNvSpPr>
            <a:spLocks noGrp="1"/>
          </p:cNvSpPr>
          <p:nvPr>
            <p:ph type="title"/>
          </p:nvPr>
        </p:nvSpPr>
        <p:spPr>
          <a:xfrm>
            <a:off x="266700" y="432198"/>
            <a:ext cx="8559404" cy="726281"/>
          </a:xfrm>
          <a:ln>
            <a:miter lim="800000"/>
            <a:headEnd/>
            <a:tailEnd/>
          </a:ln>
        </p:spPr>
        <p:txBody>
          <a:bodyPr/>
          <a:lstStyle/>
          <a:p>
            <a:pPr eaLnBrk="1" hangingPunct="1">
              <a:defRPr/>
            </a:pPr>
            <a:r>
              <a:rPr kumimoji="1" lang="en-US" altLang="en-US" sz="1600" kern="1200" dirty="0">
                <a:solidFill>
                  <a:schemeClr val="bg2"/>
                </a:solidFill>
                <a:latin typeface="Calibri" panose="020F0502020204030204" pitchFamily="34" charset="0"/>
                <a:ea typeface="MS PGothic" pitchFamily="34" charset="-128"/>
                <a:cs typeface="HelvNeue Light for IBM"/>
              </a:rPr>
              <a:t>Scalable Analytics for New Insights: </a:t>
            </a:r>
            <a:br>
              <a:rPr kumimoji="1" lang="en-US" altLang="en-US" sz="1600" kern="1200" dirty="0">
                <a:solidFill>
                  <a:schemeClr val="bg2"/>
                </a:solidFill>
                <a:latin typeface="Calibri" panose="020F0502020204030204" pitchFamily="34" charset="0"/>
                <a:ea typeface="MS PGothic" pitchFamily="34" charset="-128"/>
                <a:cs typeface="HelvNeue Light for IBM"/>
              </a:rPr>
            </a:br>
            <a:r>
              <a:rPr kumimoji="1" lang="en-US" sz="1600" b="0" kern="1200" dirty="0">
                <a:solidFill>
                  <a:schemeClr val="bg2"/>
                </a:solidFill>
                <a:latin typeface="Calibri" panose="020F0502020204030204" pitchFamily="34" charset="0"/>
                <a:ea typeface="MS PGothic" pitchFamily="34" charset="-128"/>
                <a:cs typeface="HelvNeue Light for IBM"/>
              </a:rPr>
              <a:t>Integrating Agronomic Insights for Business Early Warning Systems</a:t>
            </a:r>
          </a:p>
        </p:txBody>
      </p:sp>
      <p:sp>
        <p:nvSpPr>
          <p:cNvPr id="10" name="Rectangle 9"/>
          <p:cNvSpPr/>
          <p:nvPr/>
        </p:nvSpPr>
        <p:spPr bwMode="auto">
          <a:xfrm>
            <a:off x="377428" y="1501379"/>
            <a:ext cx="2127647" cy="3431381"/>
          </a:xfrm>
          <a:prstGeom prst="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lIns="68564" tIns="34282" rIns="68564" bIns="34282"/>
          <a:lstStyle/>
          <a:p>
            <a:pPr algn="ctr" defTabSz="685620" eaLnBrk="0" fontAlgn="base" hangingPunct="0">
              <a:spcBef>
                <a:spcPct val="0"/>
              </a:spcBef>
              <a:spcAft>
                <a:spcPct val="0"/>
              </a:spcAft>
              <a:defRPr/>
            </a:pPr>
            <a:endParaRPr lang="en-US" sz="812" dirty="0">
              <a:solidFill>
                <a:srgbClr val="004266"/>
              </a:solidFill>
              <a:latin typeface="Arial" panose="020B0604020202020204" pitchFamily="34" charset="0"/>
              <a:ea typeface="MS PGothic" charset="-128"/>
              <a:cs typeface="Arial"/>
            </a:endParaRPr>
          </a:p>
        </p:txBody>
      </p:sp>
      <p:sp>
        <p:nvSpPr>
          <p:cNvPr id="3" name="TextBox 2"/>
          <p:cNvSpPr txBox="1"/>
          <p:nvPr/>
        </p:nvSpPr>
        <p:spPr>
          <a:xfrm>
            <a:off x="440531" y="1941910"/>
            <a:ext cx="977504" cy="134652"/>
          </a:xfrm>
          <a:prstGeom prst="rect">
            <a:avLst/>
          </a:prstGeom>
          <a:noFill/>
        </p:spPr>
        <p:txBody>
          <a:bodyPr lIns="0" tIns="0" rIns="0" bIns="0">
            <a:spAutoFit/>
          </a:bodyPr>
          <a:lstStyle/>
          <a:p>
            <a:pPr algn="ctr" defTabSz="454748" eaLnBrk="0" hangingPunct="0">
              <a:defRPr/>
            </a:pPr>
            <a:r>
              <a:rPr lang="en-US" sz="875" b="1" dirty="0">
                <a:solidFill>
                  <a:srgbClr val="808080"/>
                </a:solidFill>
                <a:latin typeface="Arial"/>
                <a:ea typeface="MS PGothic" charset="-128"/>
                <a:cs typeface="Arial"/>
              </a:rPr>
              <a:t>Financial Data</a:t>
            </a:r>
          </a:p>
        </p:txBody>
      </p:sp>
      <p:sp>
        <p:nvSpPr>
          <p:cNvPr id="99" name="TextBox 98"/>
          <p:cNvSpPr txBox="1"/>
          <p:nvPr/>
        </p:nvSpPr>
        <p:spPr>
          <a:xfrm>
            <a:off x="1484710" y="1941910"/>
            <a:ext cx="977503" cy="269304"/>
          </a:xfrm>
          <a:prstGeom prst="rect">
            <a:avLst/>
          </a:prstGeom>
          <a:noFill/>
        </p:spPr>
        <p:txBody>
          <a:bodyPr lIns="0" tIns="0" rIns="0" bIns="0">
            <a:spAutoFit/>
          </a:bodyPr>
          <a:lstStyle/>
          <a:p>
            <a:pPr algn="ctr" defTabSz="454748" eaLnBrk="0" hangingPunct="0">
              <a:defRPr/>
            </a:pPr>
            <a:r>
              <a:rPr lang="en-US" sz="875" b="1" dirty="0">
                <a:solidFill>
                  <a:srgbClr val="808080"/>
                </a:solidFill>
                <a:latin typeface="Arial"/>
                <a:ea typeface="MS PGothic" charset="-128"/>
                <a:cs typeface="Arial"/>
              </a:rPr>
              <a:t>Operations Metrics</a:t>
            </a:r>
          </a:p>
        </p:txBody>
      </p:sp>
      <p:sp>
        <p:nvSpPr>
          <p:cNvPr id="137" name="TextBox 136"/>
          <p:cNvSpPr txBox="1"/>
          <p:nvPr/>
        </p:nvSpPr>
        <p:spPr>
          <a:xfrm>
            <a:off x="445294" y="2599135"/>
            <a:ext cx="977504" cy="134652"/>
          </a:xfrm>
          <a:prstGeom prst="rect">
            <a:avLst/>
          </a:prstGeom>
          <a:noFill/>
        </p:spPr>
        <p:txBody>
          <a:bodyPr lIns="0" tIns="0" rIns="0" bIns="0">
            <a:spAutoFit/>
          </a:bodyPr>
          <a:lstStyle/>
          <a:p>
            <a:pPr algn="ctr" defTabSz="454748" eaLnBrk="0" hangingPunct="0">
              <a:defRPr/>
            </a:pPr>
            <a:r>
              <a:rPr lang="en-US" sz="875" b="1" dirty="0">
                <a:solidFill>
                  <a:srgbClr val="808080"/>
                </a:solidFill>
                <a:latin typeface="Arial"/>
                <a:ea typeface="MS PGothic" charset="-128"/>
                <a:cs typeface="Arial"/>
              </a:rPr>
              <a:t>Market Data</a:t>
            </a:r>
          </a:p>
        </p:txBody>
      </p:sp>
      <p:sp>
        <p:nvSpPr>
          <p:cNvPr id="139" name="TextBox 138"/>
          <p:cNvSpPr txBox="1"/>
          <p:nvPr/>
        </p:nvSpPr>
        <p:spPr>
          <a:xfrm>
            <a:off x="1489473" y="2599135"/>
            <a:ext cx="977503" cy="269304"/>
          </a:xfrm>
          <a:prstGeom prst="rect">
            <a:avLst/>
          </a:prstGeom>
          <a:noFill/>
        </p:spPr>
        <p:txBody>
          <a:bodyPr lIns="0" tIns="0" rIns="0" bIns="0">
            <a:spAutoFit/>
          </a:bodyPr>
          <a:lstStyle/>
          <a:p>
            <a:pPr algn="ctr" defTabSz="454748" eaLnBrk="0" hangingPunct="0">
              <a:defRPr/>
            </a:pPr>
            <a:r>
              <a:rPr lang="en-US" sz="875" b="1" dirty="0">
                <a:solidFill>
                  <a:srgbClr val="808080"/>
                </a:solidFill>
                <a:latin typeface="Arial"/>
                <a:ea typeface="MS PGothic" charset="-128"/>
                <a:cs typeface="Arial"/>
              </a:rPr>
              <a:t>Other External Metrics</a:t>
            </a:r>
          </a:p>
        </p:txBody>
      </p:sp>
      <p:pic>
        <p:nvPicPr>
          <p:cNvPr id="18458" name="Picture 31" descr="Scattered Shower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38313" y="2825354"/>
            <a:ext cx="473869" cy="473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459" name="Group 69"/>
          <p:cNvGrpSpPr>
            <a:grpSpLocks/>
          </p:cNvGrpSpPr>
          <p:nvPr/>
        </p:nvGrpSpPr>
        <p:grpSpPr bwMode="auto">
          <a:xfrm>
            <a:off x="1799035" y="2255044"/>
            <a:ext cx="391715" cy="269081"/>
            <a:chOff x="8775" y="1621"/>
            <a:chExt cx="492" cy="339"/>
          </a:xfrm>
        </p:grpSpPr>
        <p:sp>
          <p:nvSpPr>
            <p:cNvPr id="63" name="Freeform 70"/>
            <p:cNvSpPr>
              <a:spLocks/>
            </p:cNvSpPr>
            <p:nvPr/>
          </p:nvSpPr>
          <p:spPr bwMode="auto">
            <a:xfrm>
              <a:off x="8790" y="1621"/>
              <a:ext cx="316" cy="251"/>
            </a:xfrm>
            <a:custGeom>
              <a:avLst/>
              <a:gdLst>
                <a:gd name="T0" fmla="*/ 33 w 315"/>
                <a:gd name="T1" fmla="*/ 40 h 250"/>
                <a:gd name="T2" fmla="*/ 35 w 315"/>
                <a:gd name="T3" fmla="*/ 32 h 250"/>
                <a:gd name="T4" fmla="*/ 37 w 315"/>
                <a:gd name="T5" fmla="*/ 28 h 250"/>
                <a:gd name="T6" fmla="*/ 39 w 315"/>
                <a:gd name="T7" fmla="*/ 25 h 250"/>
                <a:gd name="T8" fmla="*/ 41 w 315"/>
                <a:gd name="T9" fmla="*/ 21 h 250"/>
                <a:gd name="T10" fmla="*/ 44 w 315"/>
                <a:gd name="T11" fmla="*/ 18 h 250"/>
                <a:gd name="T12" fmla="*/ 47 w 315"/>
                <a:gd name="T13" fmla="*/ 15 h 250"/>
                <a:gd name="T14" fmla="*/ 50 w 315"/>
                <a:gd name="T15" fmla="*/ 12 h 250"/>
                <a:gd name="T16" fmla="*/ 57 w 315"/>
                <a:gd name="T17" fmla="*/ 7 h 250"/>
                <a:gd name="T18" fmla="*/ 64 w 315"/>
                <a:gd name="T19" fmla="*/ 3 h 250"/>
                <a:gd name="T20" fmla="*/ 68 w 315"/>
                <a:gd name="T21" fmla="*/ 2 h 250"/>
                <a:gd name="T22" fmla="*/ 72 w 315"/>
                <a:gd name="T23" fmla="*/ 1 h 250"/>
                <a:gd name="T24" fmla="*/ 80 w 315"/>
                <a:gd name="T25" fmla="*/ 0 h 250"/>
                <a:gd name="T26" fmla="*/ 281 w 315"/>
                <a:gd name="T27" fmla="*/ 0 h 250"/>
                <a:gd name="T28" fmla="*/ 289 w 315"/>
                <a:gd name="T29" fmla="*/ 1 h 250"/>
                <a:gd name="T30" fmla="*/ 292 w 315"/>
                <a:gd name="T31" fmla="*/ 2 h 250"/>
                <a:gd name="T32" fmla="*/ 296 w 315"/>
                <a:gd name="T33" fmla="*/ 3 h 250"/>
                <a:gd name="T34" fmla="*/ 299 w 315"/>
                <a:gd name="T35" fmla="*/ 5 h 250"/>
                <a:gd name="T36" fmla="*/ 302 w 315"/>
                <a:gd name="T37" fmla="*/ 7 h 250"/>
                <a:gd name="T38" fmla="*/ 305 w 315"/>
                <a:gd name="T39" fmla="*/ 9 h 250"/>
                <a:gd name="T40" fmla="*/ 307 w 315"/>
                <a:gd name="T41" fmla="*/ 12 h 250"/>
                <a:gd name="T42" fmla="*/ 311 w 315"/>
                <a:gd name="T43" fmla="*/ 18 h 250"/>
                <a:gd name="T44" fmla="*/ 313 w 315"/>
                <a:gd name="T45" fmla="*/ 21 h 250"/>
                <a:gd name="T46" fmla="*/ 314 w 315"/>
                <a:gd name="T47" fmla="*/ 25 h 250"/>
                <a:gd name="T48" fmla="*/ 314 w 315"/>
                <a:gd name="T49" fmla="*/ 28 h 250"/>
                <a:gd name="T50" fmla="*/ 315 w 315"/>
                <a:gd name="T51" fmla="*/ 32 h 250"/>
                <a:gd name="T52" fmla="*/ 315 w 315"/>
                <a:gd name="T53" fmla="*/ 36 h 250"/>
                <a:gd name="T54" fmla="*/ 314 w 315"/>
                <a:gd name="T55" fmla="*/ 40 h 250"/>
                <a:gd name="T56" fmla="*/ 281 w 315"/>
                <a:gd name="T57" fmla="*/ 210 h 250"/>
                <a:gd name="T58" fmla="*/ 279 w 315"/>
                <a:gd name="T59" fmla="*/ 218 h 250"/>
                <a:gd name="T60" fmla="*/ 278 w 315"/>
                <a:gd name="T61" fmla="*/ 222 h 250"/>
                <a:gd name="T62" fmla="*/ 276 w 315"/>
                <a:gd name="T63" fmla="*/ 226 h 250"/>
                <a:gd name="T64" fmla="*/ 273 w 315"/>
                <a:gd name="T65" fmla="*/ 229 h 250"/>
                <a:gd name="T66" fmla="*/ 271 w 315"/>
                <a:gd name="T67" fmla="*/ 233 h 250"/>
                <a:gd name="T68" fmla="*/ 268 w 315"/>
                <a:gd name="T69" fmla="*/ 236 h 250"/>
                <a:gd name="T70" fmla="*/ 265 w 315"/>
                <a:gd name="T71" fmla="*/ 239 h 250"/>
                <a:gd name="T72" fmla="*/ 258 w 315"/>
                <a:gd name="T73" fmla="*/ 244 h 250"/>
                <a:gd name="T74" fmla="*/ 250 w 315"/>
                <a:gd name="T75" fmla="*/ 247 h 250"/>
                <a:gd name="T76" fmla="*/ 247 w 315"/>
                <a:gd name="T77" fmla="*/ 249 h 250"/>
                <a:gd name="T78" fmla="*/ 242 w 315"/>
                <a:gd name="T79" fmla="*/ 250 h 250"/>
                <a:gd name="T80" fmla="*/ 234 w 315"/>
                <a:gd name="T81" fmla="*/ 250 h 250"/>
                <a:gd name="T82" fmla="*/ 34 w 315"/>
                <a:gd name="T83" fmla="*/ 250 h 250"/>
                <a:gd name="T84" fmla="*/ 26 w 315"/>
                <a:gd name="T85" fmla="*/ 250 h 250"/>
                <a:gd name="T86" fmla="*/ 22 w 315"/>
                <a:gd name="T87" fmla="*/ 249 h 250"/>
                <a:gd name="T88" fmla="*/ 19 w 315"/>
                <a:gd name="T89" fmla="*/ 247 h 250"/>
                <a:gd name="T90" fmla="*/ 16 w 315"/>
                <a:gd name="T91" fmla="*/ 246 h 250"/>
                <a:gd name="T92" fmla="*/ 13 w 315"/>
                <a:gd name="T93" fmla="*/ 244 h 250"/>
                <a:gd name="T94" fmla="*/ 10 w 315"/>
                <a:gd name="T95" fmla="*/ 241 h 250"/>
                <a:gd name="T96" fmla="*/ 7 w 315"/>
                <a:gd name="T97" fmla="*/ 239 h 250"/>
                <a:gd name="T98" fmla="*/ 4 w 315"/>
                <a:gd name="T99" fmla="*/ 233 h 250"/>
                <a:gd name="T100" fmla="*/ 2 w 315"/>
                <a:gd name="T101" fmla="*/ 229 h 250"/>
                <a:gd name="T102" fmla="*/ 1 w 315"/>
                <a:gd name="T103" fmla="*/ 226 h 250"/>
                <a:gd name="T104" fmla="*/ 0 w 315"/>
                <a:gd name="T105" fmla="*/ 222 h 250"/>
                <a:gd name="T106" fmla="*/ 0 w 315"/>
                <a:gd name="T107" fmla="*/ 218 h 250"/>
                <a:gd name="T108" fmla="*/ 0 w 315"/>
                <a:gd name="T109" fmla="*/ 214 h 250"/>
                <a:gd name="T110" fmla="*/ 0 w 315"/>
                <a:gd name="T111" fmla="*/ 210 h 250"/>
                <a:gd name="T112" fmla="*/ 33 w 315"/>
                <a:gd name="T113" fmla="*/ 4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5" h="250">
                  <a:moveTo>
                    <a:pt x="33" y="40"/>
                  </a:moveTo>
                  <a:lnTo>
                    <a:pt x="35" y="32"/>
                  </a:lnTo>
                  <a:lnTo>
                    <a:pt x="37" y="28"/>
                  </a:lnTo>
                  <a:lnTo>
                    <a:pt x="39" y="25"/>
                  </a:lnTo>
                  <a:lnTo>
                    <a:pt x="41" y="21"/>
                  </a:lnTo>
                  <a:lnTo>
                    <a:pt x="44" y="18"/>
                  </a:lnTo>
                  <a:lnTo>
                    <a:pt x="47" y="15"/>
                  </a:lnTo>
                  <a:lnTo>
                    <a:pt x="50" y="12"/>
                  </a:lnTo>
                  <a:lnTo>
                    <a:pt x="57" y="7"/>
                  </a:lnTo>
                  <a:lnTo>
                    <a:pt x="64" y="3"/>
                  </a:lnTo>
                  <a:lnTo>
                    <a:pt x="68" y="2"/>
                  </a:lnTo>
                  <a:lnTo>
                    <a:pt x="72" y="1"/>
                  </a:lnTo>
                  <a:lnTo>
                    <a:pt x="80" y="0"/>
                  </a:lnTo>
                  <a:lnTo>
                    <a:pt x="281" y="0"/>
                  </a:lnTo>
                  <a:lnTo>
                    <a:pt x="289" y="1"/>
                  </a:lnTo>
                  <a:lnTo>
                    <a:pt x="292" y="2"/>
                  </a:lnTo>
                  <a:lnTo>
                    <a:pt x="296" y="3"/>
                  </a:lnTo>
                  <a:lnTo>
                    <a:pt x="299" y="5"/>
                  </a:lnTo>
                  <a:lnTo>
                    <a:pt x="302" y="7"/>
                  </a:lnTo>
                  <a:lnTo>
                    <a:pt x="305" y="9"/>
                  </a:lnTo>
                  <a:lnTo>
                    <a:pt x="307" y="12"/>
                  </a:lnTo>
                  <a:lnTo>
                    <a:pt x="311" y="18"/>
                  </a:lnTo>
                  <a:lnTo>
                    <a:pt x="313" y="21"/>
                  </a:lnTo>
                  <a:lnTo>
                    <a:pt x="314" y="25"/>
                  </a:lnTo>
                  <a:lnTo>
                    <a:pt x="314" y="28"/>
                  </a:lnTo>
                  <a:lnTo>
                    <a:pt x="315" y="32"/>
                  </a:lnTo>
                  <a:lnTo>
                    <a:pt x="315" y="36"/>
                  </a:lnTo>
                  <a:lnTo>
                    <a:pt x="314" y="40"/>
                  </a:lnTo>
                  <a:lnTo>
                    <a:pt x="281" y="210"/>
                  </a:lnTo>
                  <a:lnTo>
                    <a:pt x="279" y="218"/>
                  </a:lnTo>
                  <a:lnTo>
                    <a:pt x="278" y="222"/>
                  </a:lnTo>
                  <a:lnTo>
                    <a:pt x="276" y="226"/>
                  </a:lnTo>
                  <a:lnTo>
                    <a:pt x="273" y="229"/>
                  </a:lnTo>
                  <a:lnTo>
                    <a:pt x="271" y="233"/>
                  </a:lnTo>
                  <a:lnTo>
                    <a:pt x="268" y="236"/>
                  </a:lnTo>
                  <a:lnTo>
                    <a:pt x="265" y="239"/>
                  </a:lnTo>
                  <a:lnTo>
                    <a:pt x="258" y="244"/>
                  </a:lnTo>
                  <a:lnTo>
                    <a:pt x="250" y="247"/>
                  </a:lnTo>
                  <a:lnTo>
                    <a:pt x="247" y="249"/>
                  </a:lnTo>
                  <a:lnTo>
                    <a:pt x="242" y="250"/>
                  </a:lnTo>
                  <a:lnTo>
                    <a:pt x="234" y="250"/>
                  </a:lnTo>
                  <a:lnTo>
                    <a:pt x="34" y="250"/>
                  </a:lnTo>
                  <a:lnTo>
                    <a:pt x="26" y="250"/>
                  </a:lnTo>
                  <a:lnTo>
                    <a:pt x="22" y="249"/>
                  </a:lnTo>
                  <a:lnTo>
                    <a:pt x="19" y="247"/>
                  </a:lnTo>
                  <a:lnTo>
                    <a:pt x="16" y="246"/>
                  </a:lnTo>
                  <a:lnTo>
                    <a:pt x="13" y="244"/>
                  </a:lnTo>
                  <a:lnTo>
                    <a:pt x="10" y="241"/>
                  </a:lnTo>
                  <a:lnTo>
                    <a:pt x="7" y="239"/>
                  </a:lnTo>
                  <a:lnTo>
                    <a:pt x="4" y="233"/>
                  </a:lnTo>
                  <a:lnTo>
                    <a:pt x="2" y="229"/>
                  </a:lnTo>
                  <a:lnTo>
                    <a:pt x="1" y="226"/>
                  </a:lnTo>
                  <a:lnTo>
                    <a:pt x="0" y="222"/>
                  </a:lnTo>
                  <a:lnTo>
                    <a:pt x="0" y="218"/>
                  </a:lnTo>
                  <a:lnTo>
                    <a:pt x="0" y="214"/>
                  </a:lnTo>
                  <a:lnTo>
                    <a:pt x="0" y="210"/>
                  </a:lnTo>
                  <a:lnTo>
                    <a:pt x="33" y="40"/>
                  </a:lnTo>
                  <a:close/>
                </a:path>
              </a:pathLst>
            </a:custGeom>
            <a:solidFill>
              <a:srgbClr val="C7CDFD"/>
            </a:solidFill>
            <a:ln>
              <a:noFill/>
            </a:ln>
            <a:extLst/>
          </p:spPr>
          <p:txBody>
            <a:bodyPr/>
            <a:lstStyle/>
            <a:p>
              <a:pPr defTabSz="454748" eaLnBrk="0" hangingPunct="0">
                <a:defRPr/>
              </a:pPr>
              <a:endParaRPr lang="en-US" sz="1813" dirty="0">
                <a:solidFill>
                  <a:srgbClr val="004266"/>
                </a:solidFill>
                <a:latin typeface="Arial"/>
                <a:ea typeface="MS PGothic" charset="-128"/>
                <a:cs typeface="Arial"/>
              </a:endParaRPr>
            </a:p>
          </p:txBody>
        </p:sp>
        <p:sp>
          <p:nvSpPr>
            <p:cNvPr id="64" name="Freeform 71"/>
            <p:cNvSpPr>
              <a:spLocks noEditPoints="1"/>
            </p:cNvSpPr>
            <p:nvPr/>
          </p:nvSpPr>
          <p:spPr bwMode="auto">
            <a:xfrm>
              <a:off x="8775" y="1687"/>
              <a:ext cx="492" cy="236"/>
            </a:xfrm>
            <a:custGeom>
              <a:avLst/>
              <a:gdLst>
                <a:gd name="T0" fmla="*/ 375 w 492"/>
                <a:gd name="T1" fmla="*/ 118 h 236"/>
                <a:gd name="T2" fmla="*/ 465 w 492"/>
                <a:gd name="T3" fmla="*/ 106 h 236"/>
                <a:gd name="T4" fmla="*/ 467 w 492"/>
                <a:gd name="T5" fmla="*/ 81 h 236"/>
                <a:gd name="T6" fmla="*/ 467 w 492"/>
                <a:gd name="T7" fmla="*/ 57 h 236"/>
                <a:gd name="T8" fmla="*/ 467 w 492"/>
                <a:gd name="T9" fmla="*/ 46 h 236"/>
                <a:gd name="T10" fmla="*/ 464 w 492"/>
                <a:gd name="T11" fmla="*/ 29 h 236"/>
                <a:gd name="T12" fmla="*/ 351 w 492"/>
                <a:gd name="T13" fmla="*/ 0 h 236"/>
                <a:gd name="T14" fmla="*/ 490 w 492"/>
                <a:gd name="T15" fmla="*/ 14 h 236"/>
                <a:gd name="T16" fmla="*/ 492 w 492"/>
                <a:gd name="T17" fmla="*/ 43 h 236"/>
                <a:gd name="T18" fmla="*/ 492 w 492"/>
                <a:gd name="T19" fmla="*/ 73 h 236"/>
                <a:gd name="T20" fmla="*/ 491 w 492"/>
                <a:gd name="T21" fmla="*/ 102 h 236"/>
                <a:gd name="T22" fmla="*/ 488 w 492"/>
                <a:gd name="T23" fmla="*/ 132 h 236"/>
                <a:gd name="T24" fmla="*/ 484 w 492"/>
                <a:gd name="T25" fmla="*/ 154 h 236"/>
                <a:gd name="T26" fmla="*/ 479 w 492"/>
                <a:gd name="T27" fmla="*/ 176 h 236"/>
                <a:gd name="T28" fmla="*/ 470 w 492"/>
                <a:gd name="T29" fmla="*/ 206 h 236"/>
                <a:gd name="T30" fmla="*/ 458 w 492"/>
                <a:gd name="T31" fmla="*/ 236 h 236"/>
                <a:gd name="T32" fmla="*/ 420 w 492"/>
                <a:gd name="T33" fmla="*/ 232 h 236"/>
                <a:gd name="T34" fmla="*/ 419 w 492"/>
                <a:gd name="T35" fmla="*/ 225 h 236"/>
                <a:gd name="T36" fmla="*/ 414 w 492"/>
                <a:gd name="T37" fmla="*/ 215 h 236"/>
                <a:gd name="T38" fmla="*/ 409 w 492"/>
                <a:gd name="T39" fmla="*/ 210 h 236"/>
                <a:gd name="T40" fmla="*/ 403 w 492"/>
                <a:gd name="T41" fmla="*/ 205 h 236"/>
                <a:gd name="T42" fmla="*/ 393 w 492"/>
                <a:gd name="T43" fmla="*/ 200 h 236"/>
                <a:gd name="T44" fmla="*/ 381 w 492"/>
                <a:gd name="T45" fmla="*/ 199 h 236"/>
                <a:gd name="T46" fmla="*/ 369 w 492"/>
                <a:gd name="T47" fmla="*/ 200 h 236"/>
                <a:gd name="T48" fmla="*/ 361 w 492"/>
                <a:gd name="T49" fmla="*/ 203 h 236"/>
                <a:gd name="T50" fmla="*/ 354 w 492"/>
                <a:gd name="T51" fmla="*/ 207 h 236"/>
                <a:gd name="T52" fmla="*/ 344 w 492"/>
                <a:gd name="T53" fmla="*/ 215 h 236"/>
                <a:gd name="T54" fmla="*/ 339 w 492"/>
                <a:gd name="T55" fmla="*/ 221 h 236"/>
                <a:gd name="T56" fmla="*/ 333 w 492"/>
                <a:gd name="T57" fmla="*/ 232 h 236"/>
                <a:gd name="T58" fmla="*/ 126 w 492"/>
                <a:gd name="T59" fmla="*/ 236 h 236"/>
                <a:gd name="T60" fmla="*/ 125 w 492"/>
                <a:gd name="T61" fmla="*/ 229 h 236"/>
                <a:gd name="T62" fmla="*/ 122 w 492"/>
                <a:gd name="T63" fmla="*/ 221 h 236"/>
                <a:gd name="T64" fmla="*/ 117 w 492"/>
                <a:gd name="T65" fmla="*/ 212 h 236"/>
                <a:gd name="T66" fmla="*/ 111 w 492"/>
                <a:gd name="T67" fmla="*/ 207 h 236"/>
                <a:gd name="T68" fmla="*/ 102 w 492"/>
                <a:gd name="T69" fmla="*/ 202 h 236"/>
                <a:gd name="T70" fmla="*/ 94 w 492"/>
                <a:gd name="T71" fmla="*/ 199 h 236"/>
                <a:gd name="T72" fmla="*/ 78 w 492"/>
                <a:gd name="T73" fmla="*/ 199 h 236"/>
                <a:gd name="T74" fmla="*/ 70 w 492"/>
                <a:gd name="T75" fmla="*/ 202 h 236"/>
                <a:gd name="T76" fmla="*/ 63 w 492"/>
                <a:gd name="T77" fmla="*/ 205 h 236"/>
                <a:gd name="T78" fmla="*/ 56 w 492"/>
                <a:gd name="T79" fmla="*/ 210 h 236"/>
                <a:gd name="T80" fmla="*/ 47 w 492"/>
                <a:gd name="T81" fmla="*/ 218 h 236"/>
                <a:gd name="T82" fmla="*/ 40 w 492"/>
                <a:gd name="T83" fmla="*/ 228 h 236"/>
                <a:gd name="T84" fmla="*/ 37 w 492"/>
                <a:gd name="T85" fmla="*/ 236 h 236"/>
                <a:gd name="T86" fmla="*/ 17 w 492"/>
                <a:gd name="T87" fmla="*/ 133 h 236"/>
                <a:gd name="T88" fmla="*/ 351 w 492"/>
                <a:gd name="T8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92" h="236">
                  <a:moveTo>
                    <a:pt x="390" y="29"/>
                  </a:moveTo>
                  <a:lnTo>
                    <a:pt x="375" y="118"/>
                  </a:lnTo>
                  <a:lnTo>
                    <a:pt x="464" y="118"/>
                  </a:lnTo>
                  <a:lnTo>
                    <a:pt x="465" y="106"/>
                  </a:lnTo>
                  <a:lnTo>
                    <a:pt x="467" y="94"/>
                  </a:lnTo>
                  <a:lnTo>
                    <a:pt x="467" y="81"/>
                  </a:lnTo>
                  <a:lnTo>
                    <a:pt x="468" y="69"/>
                  </a:lnTo>
                  <a:lnTo>
                    <a:pt x="467" y="57"/>
                  </a:lnTo>
                  <a:lnTo>
                    <a:pt x="467" y="51"/>
                  </a:lnTo>
                  <a:lnTo>
                    <a:pt x="467" y="46"/>
                  </a:lnTo>
                  <a:lnTo>
                    <a:pt x="466" y="37"/>
                  </a:lnTo>
                  <a:lnTo>
                    <a:pt x="464" y="29"/>
                  </a:lnTo>
                  <a:lnTo>
                    <a:pt x="390" y="29"/>
                  </a:lnTo>
                  <a:close/>
                  <a:moveTo>
                    <a:pt x="351" y="0"/>
                  </a:moveTo>
                  <a:lnTo>
                    <a:pt x="488" y="0"/>
                  </a:lnTo>
                  <a:lnTo>
                    <a:pt x="490" y="14"/>
                  </a:lnTo>
                  <a:lnTo>
                    <a:pt x="491" y="29"/>
                  </a:lnTo>
                  <a:lnTo>
                    <a:pt x="492" y="43"/>
                  </a:lnTo>
                  <a:lnTo>
                    <a:pt x="492" y="58"/>
                  </a:lnTo>
                  <a:lnTo>
                    <a:pt x="492" y="73"/>
                  </a:lnTo>
                  <a:lnTo>
                    <a:pt x="492" y="87"/>
                  </a:lnTo>
                  <a:lnTo>
                    <a:pt x="491" y="102"/>
                  </a:lnTo>
                  <a:lnTo>
                    <a:pt x="490" y="117"/>
                  </a:lnTo>
                  <a:lnTo>
                    <a:pt x="488" y="132"/>
                  </a:lnTo>
                  <a:lnTo>
                    <a:pt x="486" y="147"/>
                  </a:lnTo>
                  <a:lnTo>
                    <a:pt x="484" y="154"/>
                  </a:lnTo>
                  <a:lnTo>
                    <a:pt x="483" y="161"/>
                  </a:lnTo>
                  <a:lnTo>
                    <a:pt x="479" y="176"/>
                  </a:lnTo>
                  <a:lnTo>
                    <a:pt x="475" y="191"/>
                  </a:lnTo>
                  <a:lnTo>
                    <a:pt x="470" y="206"/>
                  </a:lnTo>
                  <a:lnTo>
                    <a:pt x="465" y="221"/>
                  </a:lnTo>
                  <a:lnTo>
                    <a:pt x="458" y="236"/>
                  </a:lnTo>
                  <a:lnTo>
                    <a:pt x="421" y="236"/>
                  </a:lnTo>
                  <a:lnTo>
                    <a:pt x="420" y="232"/>
                  </a:lnTo>
                  <a:lnTo>
                    <a:pt x="420" y="229"/>
                  </a:lnTo>
                  <a:lnTo>
                    <a:pt x="419" y="225"/>
                  </a:lnTo>
                  <a:lnTo>
                    <a:pt x="417" y="221"/>
                  </a:lnTo>
                  <a:lnTo>
                    <a:pt x="414" y="215"/>
                  </a:lnTo>
                  <a:lnTo>
                    <a:pt x="412" y="212"/>
                  </a:lnTo>
                  <a:lnTo>
                    <a:pt x="409" y="210"/>
                  </a:lnTo>
                  <a:lnTo>
                    <a:pt x="406" y="207"/>
                  </a:lnTo>
                  <a:lnTo>
                    <a:pt x="403" y="205"/>
                  </a:lnTo>
                  <a:lnTo>
                    <a:pt x="397" y="202"/>
                  </a:lnTo>
                  <a:lnTo>
                    <a:pt x="393" y="200"/>
                  </a:lnTo>
                  <a:lnTo>
                    <a:pt x="389" y="199"/>
                  </a:lnTo>
                  <a:lnTo>
                    <a:pt x="381" y="199"/>
                  </a:lnTo>
                  <a:lnTo>
                    <a:pt x="373" y="199"/>
                  </a:lnTo>
                  <a:lnTo>
                    <a:pt x="369" y="200"/>
                  </a:lnTo>
                  <a:lnTo>
                    <a:pt x="365" y="202"/>
                  </a:lnTo>
                  <a:lnTo>
                    <a:pt x="361" y="203"/>
                  </a:lnTo>
                  <a:lnTo>
                    <a:pt x="358" y="205"/>
                  </a:lnTo>
                  <a:lnTo>
                    <a:pt x="354" y="207"/>
                  </a:lnTo>
                  <a:lnTo>
                    <a:pt x="351" y="210"/>
                  </a:lnTo>
                  <a:lnTo>
                    <a:pt x="344" y="215"/>
                  </a:lnTo>
                  <a:lnTo>
                    <a:pt x="342" y="218"/>
                  </a:lnTo>
                  <a:lnTo>
                    <a:pt x="339" y="221"/>
                  </a:lnTo>
                  <a:lnTo>
                    <a:pt x="335" y="228"/>
                  </a:lnTo>
                  <a:lnTo>
                    <a:pt x="333" y="232"/>
                  </a:lnTo>
                  <a:lnTo>
                    <a:pt x="332" y="236"/>
                  </a:lnTo>
                  <a:lnTo>
                    <a:pt x="126" y="236"/>
                  </a:lnTo>
                  <a:lnTo>
                    <a:pt x="125" y="232"/>
                  </a:lnTo>
                  <a:lnTo>
                    <a:pt x="125" y="229"/>
                  </a:lnTo>
                  <a:lnTo>
                    <a:pt x="124" y="225"/>
                  </a:lnTo>
                  <a:lnTo>
                    <a:pt x="122" y="221"/>
                  </a:lnTo>
                  <a:lnTo>
                    <a:pt x="119" y="215"/>
                  </a:lnTo>
                  <a:lnTo>
                    <a:pt x="117" y="212"/>
                  </a:lnTo>
                  <a:lnTo>
                    <a:pt x="114" y="210"/>
                  </a:lnTo>
                  <a:lnTo>
                    <a:pt x="111" y="207"/>
                  </a:lnTo>
                  <a:lnTo>
                    <a:pt x="108" y="205"/>
                  </a:lnTo>
                  <a:lnTo>
                    <a:pt x="102" y="202"/>
                  </a:lnTo>
                  <a:lnTo>
                    <a:pt x="98" y="200"/>
                  </a:lnTo>
                  <a:lnTo>
                    <a:pt x="94" y="199"/>
                  </a:lnTo>
                  <a:lnTo>
                    <a:pt x="86" y="199"/>
                  </a:lnTo>
                  <a:lnTo>
                    <a:pt x="78" y="199"/>
                  </a:lnTo>
                  <a:lnTo>
                    <a:pt x="74" y="200"/>
                  </a:lnTo>
                  <a:lnTo>
                    <a:pt x="70" y="202"/>
                  </a:lnTo>
                  <a:lnTo>
                    <a:pt x="66" y="203"/>
                  </a:lnTo>
                  <a:lnTo>
                    <a:pt x="63" y="205"/>
                  </a:lnTo>
                  <a:lnTo>
                    <a:pt x="59" y="207"/>
                  </a:lnTo>
                  <a:lnTo>
                    <a:pt x="56" y="210"/>
                  </a:lnTo>
                  <a:lnTo>
                    <a:pt x="49" y="215"/>
                  </a:lnTo>
                  <a:lnTo>
                    <a:pt x="47" y="218"/>
                  </a:lnTo>
                  <a:lnTo>
                    <a:pt x="44" y="221"/>
                  </a:lnTo>
                  <a:lnTo>
                    <a:pt x="40" y="228"/>
                  </a:lnTo>
                  <a:lnTo>
                    <a:pt x="38" y="232"/>
                  </a:lnTo>
                  <a:lnTo>
                    <a:pt x="37" y="236"/>
                  </a:lnTo>
                  <a:lnTo>
                    <a:pt x="0" y="236"/>
                  </a:lnTo>
                  <a:lnTo>
                    <a:pt x="17" y="133"/>
                  </a:lnTo>
                  <a:lnTo>
                    <a:pt x="328" y="133"/>
                  </a:lnTo>
                  <a:lnTo>
                    <a:pt x="351" y="0"/>
                  </a:lnTo>
                  <a:close/>
                </a:path>
              </a:pathLst>
            </a:custGeom>
            <a:solidFill>
              <a:srgbClr val="7889FB"/>
            </a:solidFill>
            <a:ln>
              <a:noFill/>
            </a:ln>
            <a:extLst/>
          </p:spPr>
          <p:txBody>
            <a:bodyPr/>
            <a:lstStyle/>
            <a:p>
              <a:pPr defTabSz="454748" eaLnBrk="0" hangingPunct="0">
                <a:defRPr/>
              </a:pPr>
              <a:endParaRPr lang="en-US" sz="1813" dirty="0">
                <a:solidFill>
                  <a:srgbClr val="004266"/>
                </a:solidFill>
                <a:latin typeface="Arial"/>
                <a:ea typeface="MS PGothic" charset="-128"/>
                <a:cs typeface="Arial"/>
              </a:endParaRPr>
            </a:p>
          </p:txBody>
        </p:sp>
        <p:sp>
          <p:nvSpPr>
            <p:cNvPr id="65" name="Freeform 72"/>
            <p:cNvSpPr>
              <a:spLocks/>
            </p:cNvSpPr>
            <p:nvPr/>
          </p:nvSpPr>
          <p:spPr bwMode="auto">
            <a:xfrm>
              <a:off x="9120" y="1902"/>
              <a:ext cx="60" cy="58"/>
            </a:xfrm>
            <a:custGeom>
              <a:avLst/>
              <a:gdLst>
                <a:gd name="T0" fmla="*/ 36 w 60"/>
                <a:gd name="T1" fmla="*/ 0 h 58"/>
                <a:gd name="T2" fmla="*/ 30 w 60"/>
                <a:gd name="T3" fmla="*/ 0 h 58"/>
                <a:gd name="T4" fmla="*/ 24 w 60"/>
                <a:gd name="T5" fmla="*/ 2 h 58"/>
                <a:gd name="T6" fmla="*/ 19 w 60"/>
                <a:gd name="T7" fmla="*/ 5 h 58"/>
                <a:gd name="T8" fmla="*/ 13 w 60"/>
                <a:gd name="T9" fmla="*/ 8 h 58"/>
                <a:gd name="T10" fmla="*/ 9 w 60"/>
                <a:gd name="T11" fmla="*/ 13 h 58"/>
                <a:gd name="T12" fmla="*/ 7 w 60"/>
                <a:gd name="T13" fmla="*/ 16 h 58"/>
                <a:gd name="T14" fmla="*/ 5 w 60"/>
                <a:gd name="T15" fmla="*/ 18 h 58"/>
                <a:gd name="T16" fmla="*/ 2 w 60"/>
                <a:gd name="T17" fmla="*/ 24 h 58"/>
                <a:gd name="T18" fmla="*/ 1 w 60"/>
                <a:gd name="T19" fmla="*/ 30 h 58"/>
                <a:gd name="T20" fmla="*/ 0 w 60"/>
                <a:gd name="T21" fmla="*/ 36 h 58"/>
                <a:gd name="T22" fmla="*/ 1 w 60"/>
                <a:gd name="T23" fmla="*/ 41 h 58"/>
                <a:gd name="T24" fmla="*/ 3 w 60"/>
                <a:gd name="T25" fmla="*/ 46 h 58"/>
                <a:gd name="T26" fmla="*/ 5 w 60"/>
                <a:gd name="T27" fmla="*/ 50 h 58"/>
                <a:gd name="T28" fmla="*/ 7 w 60"/>
                <a:gd name="T29" fmla="*/ 52 h 58"/>
                <a:gd name="T30" fmla="*/ 9 w 60"/>
                <a:gd name="T31" fmla="*/ 53 h 58"/>
                <a:gd name="T32" fmla="*/ 13 w 60"/>
                <a:gd name="T33" fmla="*/ 56 h 58"/>
                <a:gd name="T34" fmla="*/ 16 w 60"/>
                <a:gd name="T35" fmla="*/ 57 h 58"/>
                <a:gd name="T36" fmla="*/ 18 w 60"/>
                <a:gd name="T37" fmla="*/ 57 h 58"/>
                <a:gd name="T38" fmla="*/ 24 w 60"/>
                <a:gd name="T39" fmla="*/ 58 h 58"/>
                <a:gd name="T40" fmla="*/ 30 w 60"/>
                <a:gd name="T41" fmla="*/ 57 h 58"/>
                <a:gd name="T42" fmla="*/ 36 w 60"/>
                <a:gd name="T43" fmla="*/ 56 h 58"/>
                <a:gd name="T44" fmla="*/ 42 w 60"/>
                <a:gd name="T45" fmla="*/ 53 h 58"/>
                <a:gd name="T46" fmla="*/ 47 w 60"/>
                <a:gd name="T47" fmla="*/ 49 h 58"/>
                <a:gd name="T48" fmla="*/ 51 w 60"/>
                <a:gd name="T49" fmla="*/ 44 h 58"/>
                <a:gd name="T50" fmla="*/ 53 w 60"/>
                <a:gd name="T51" fmla="*/ 42 h 58"/>
                <a:gd name="T52" fmla="*/ 55 w 60"/>
                <a:gd name="T53" fmla="*/ 39 h 58"/>
                <a:gd name="T54" fmla="*/ 58 w 60"/>
                <a:gd name="T55" fmla="*/ 34 h 58"/>
                <a:gd name="T56" fmla="*/ 59 w 60"/>
                <a:gd name="T57" fmla="*/ 27 h 58"/>
                <a:gd name="T58" fmla="*/ 60 w 60"/>
                <a:gd name="T59" fmla="*/ 22 h 58"/>
                <a:gd name="T60" fmla="*/ 59 w 60"/>
                <a:gd name="T61" fmla="*/ 16 h 58"/>
                <a:gd name="T62" fmla="*/ 57 w 60"/>
                <a:gd name="T63" fmla="*/ 12 h 58"/>
                <a:gd name="T64" fmla="*/ 55 w 60"/>
                <a:gd name="T65" fmla="*/ 8 h 58"/>
                <a:gd name="T66" fmla="*/ 53 w 60"/>
                <a:gd name="T67" fmla="*/ 6 h 58"/>
                <a:gd name="T68" fmla="*/ 51 w 60"/>
                <a:gd name="T69" fmla="*/ 4 h 58"/>
                <a:gd name="T70" fmla="*/ 47 w 60"/>
                <a:gd name="T71" fmla="*/ 2 h 58"/>
                <a:gd name="T72" fmla="*/ 44 w 60"/>
                <a:gd name="T73" fmla="*/ 1 h 58"/>
                <a:gd name="T74" fmla="*/ 42 w 60"/>
                <a:gd name="T75" fmla="*/ 0 h 58"/>
                <a:gd name="T76" fmla="*/ 36 w 60"/>
                <a:gd name="T7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 h="58">
                  <a:moveTo>
                    <a:pt x="36" y="0"/>
                  </a:moveTo>
                  <a:lnTo>
                    <a:pt x="30" y="0"/>
                  </a:lnTo>
                  <a:lnTo>
                    <a:pt x="24" y="2"/>
                  </a:lnTo>
                  <a:lnTo>
                    <a:pt x="19" y="5"/>
                  </a:lnTo>
                  <a:lnTo>
                    <a:pt x="13" y="8"/>
                  </a:lnTo>
                  <a:lnTo>
                    <a:pt x="9" y="13"/>
                  </a:lnTo>
                  <a:lnTo>
                    <a:pt x="7" y="16"/>
                  </a:lnTo>
                  <a:lnTo>
                    <a:pt x="5" y="18"/>
                  </a:lnTo>
                  <a:lnTo>
                    <a:pt x="2" y="24"/>
                  </a:lnTo>
                  <a:lnTo>
                    <a:pt x="1" y="30"/>
                  </a:lnTo>
                  <a:lnTo>
                    <a:pt x="0" y="36"/>
                  </a:lnTo>
                  <a:lnTo>
                    <a:pt x="1" y="41"/>
                  </a:lnTo>
                  <a:lnTo>
                    <a:pt x="3" y="46"/>
                  </a:lnTo>
                  <a:lnTo>
                    <a:pt x="5" y="50"/>
                  </a:lnTo>
                  <a:lnTo>
                    <a:pt x="7" y="52"/>
                  </a:lnTo>
                  <a:lnTo>
                    <a:pt x="9" y="53"/>
                  </a:lnTo>
                  <a:lnTo>
                    <a:pt x="13" y="56"/>
                  </a:lnTo>
                  <a:lnTo>
                    <a:pt x="16" y="57"/>
                  </a:lnTo>
                  <a:lnTo>
                    <a:pt x="18" y="57"/>
                  </a:lnTo>
                  <a:lnTo>
                    <a:pt x="24" y="58"/>
                  </a:lnTo>
                  <a:lnTo>
                    <a:pt x="30" y="57"/>
                  </a:lnTo>
                  <a:lnTo>
                    <a:pt x="36" y="56"/>
                  </a:lnTo>
                  <a:lnTo>
                    <a:pt x="42" y="53"/>
                  </a:lnTo>
                  <a:lnTo>
                    <a:pt x="47" y="49"/>
                  </a:lnTo>
                  <a:lnTo>
                    <a:pt x="51" y="44"/>
                  </a:lnTo>
                  <a:lnTo>
                    <a:pt x="53" y="42"/>
                  </a:lnTo>
                  <a:lnTo>
                    <a:pt x="55" y="39"/>
                  </a:lnTo>
                  <a:lnTo>
                    <a:pt x="58" y="34"/>
                  </a:lnTo>
                  <a:lnTo>
                    <a:pt x="59" y="27"/>
                  </a:lnTo>
                  <a:lnTo>
                    <a:pt x="60" y="22"/>
                  </a:lnTo>
                  <a:lnTo>
                    <a:pt x="59" y="16"/>
                  </a:lnTo>
                  <a:lnTo>
                    <a:pt x="57" y="12"/>
                  </a:lnTo>
                  <a:lnTo>
                    <a:pt x="55" y="8"/>
                  </a:lnTo>
                  <a:lnTo>
                    <a:pt x="53" y="6"/>
                  </a:lnTo>
                  <a:lnTo>
                    <a:pt x="51" y="4"/>
                  </a:lnTo>
                  <a:lnTo>
                    <a:pt x="47" y="2"/>
                  </a:lnTo>
                  <a:lnTo>
                    <a:pt x="44" y="1"/>
                  </a:lnTo>
                  <a:lnTo>
                    <a:pt x="42" y="0"/>
                  </a:lnTo>
                  <a:lnTo>
                    <a:pt x="36" y="0"/>
                  </a:lnTo>
                  <a:close/>
                </a:path>
              </a:pathLst>
            </a:custGeom>
            <a:solidFill>
              <a:srgbClr val="000099"/>
            </a:solidFill>
            <a:ln>
              <a:noFill/>
            </a:ln>
            <a:extLst/>
          </p:spPr>
          <p:txBody>
            <a:bodyPr/>
            <a:lstStyle/>
            <a:p>
              <a:pPr defTabSz="454748" eaLnBrk="0" hangingPunct="0">
                <a:defRPr/>
              </a:pPr>
              <a:endParaRPr lang="en-US" sz="1813" dirty="0">
                <a:solidFill>
                  <a:srgbClr val="004266"/>
                </a:solidFill>
                <a:latin typeface="Arial"/>
                <a:ea typeface="MS PGothic" charset="-128"/>
                <a:cs typeface="Arial"/>
              </a:endParaRPr>
            </a:p>
          </p:txBody>
        </p:sp>
        <p:sp>
          <p:nvSpPr>
            <p:cNvPr id="66" name="Freeform 73"/>
            <p:cNvSpPr>
              <a:spLocks/>
            </p:cNvSpPr>
            <p:nvPr/>
          </p:nvSpPr>
          <p:spPr bwMode="auto">
            <a:xfrm>
              <a:off x="8824" y="1902"/>
              <a:ext cx="61" cy="58"/>
            </a:xfrm>
            <a:custGeom>
              <a:avLst/>
              <a:gdLst>
                <a:gd name="T0" fmla="*/ 36 w 60"/>
                <a:gd name="T1" fmla="*/ 0 h 58"/>
                <a:gd name="T2" fmla="*/ 30 w 60"/>
                <a:gd name="T3" fmla="*/ 0 h 58"/>
                <a:gd name="T4" fmla="*/ 24 w 60"/>
                <a:gd name="T5" fmla="*/ 2 h 58"/>
                <a:gd name="T6" fmla="*/ 19 w 60"/>
                <a:gd name="T7" fmla="*/ 5 h 58"/>
                <a:gd name="T8" fmla="*/ 13 w 60"/>
                <a:gd name="T9" fmla="*/ 8 h 58"/>
                <a:gd name="T10" fmla="*/ 9 w 60"/>
                <a:gd name="T11" fmla="*/ 13 h 58"/>
                <a:gd name="T12" fmla="*/ 7 w 60"/>
                <a:gd name="T13" fmla="*/ 16 h 58"/>
                <a:gd name="T14" fmla="*/ 5 w 60"/>
                <a:gd name="T15" fmla="*/ 18 h 58"/>
                <a:gd name="T16" fmla="*/ 2 w 60"/>
                <a:gd name="T17" fmla="*/ 24 h 58"/>
                <a:gd name="T18" fmla="*/ 1 w 60"/>
                <a:gd name="T19" fmla="*/ 30 h 58"/>
                <a:gd name="T20" fmla="*/ 0 w 60"/>
                <a:gd name="T21" fmla="*/ 36 h 58"/>
                <a:gd name="T22" fmla="*/ 1 w 60"/>
                <a:gd name="T23" fmla="*/ 41 h 58"/>
                <a:gd name="T24" fmla="*/ 3 w 60"/>
                <a:gd name="T25" fmla="*/ 46 h 58"/>
                <a:gd name="T26" fmla="*/ 5 w 60"/>
                <a:gd name="T27" fmla="*/ 50 h 58"/>
                <a:gd name="T28" fmla="*/ 7 w 60"/>
                <a:gd name="T29" fmla="*/ 52 h 58"/>
                <a:gd name="T30" fmla="*/ 9 w 60"/>
                <a:gd name="T31" fmla="*/ 53 h 58"/>
                <a:gd name="T32" fmla="*/ 13 w 60"/>
                <a:gd name="T33" fmla="*/ 56 h 58"/>
                <a:gd name="T34" fmla="*/ 16 w 60"/>
                <a:gd name="T35" fmla="*/ 57 h 58"/>
                <a:gd name="T36" fmla="*/ 18 w 60"/>
                <a:gd name="T37" fmla="*/ 57 h 58"/>
                <a:gd name="T38" fmla="*/ 24 w 60"/>
                <a:gd name="T39" fmla="*/ 58 h 58"/>
                <a:gd name="T40" fmla="*/ 30 w 60"/>
                <a:gd name="T41" fmla="*/ 57 h 58"/>
                <a:gd name="T42" fmla="*/ 36 w 60"/>
                <a:gd name="T43" fmla="*/ 56 h 58"/>
                <a:gd name="T44" fmla="*/ 42 w 60"/>
                <a:gd name="T45" fmla="*/ 53 h 58"/>
                <a:gd name="T46" fmla="*/ 47 w 60"/>
                <a:gd name="T47" fmla="*/ 49 h 58"/>
                <a:gd name="T48" fmla="*/ 51 w 60"/>
                <a:gd name="T49" fmla="*/ 44 h 58"/>
                <a:gd name="T50" fmla="*/ 53 w 60"/>
                <a:gd name="T51" fmla="*/ 42 h 58"/>
                <a:gd name="T52" fmla="*/ 55 w 60"/>
                <a:gd name="T53" fmla="*/ 39 h 58"/>
                <a:gd name="T54" fmla="*/ 58 w 60"/>
                <a:gd name="T55" fmla="*/ 34 h 58"/>
                <a:gd name="T56" fmla="*/ 59 w 60"/>
                <a:gd name="T57" fmla="*/ 27 h 58"/>
                <a:gd name="T58" fmla="*/ 60 w 60"/>
                <a:gd name="T59" fmla="*/ 22 h 58"/>
                <a:gd name="T60" fmla="*/ 59 w 60"/>
                <a:gd name="T61" fmla="*/ 16 h 58"/>
                <a:gd name="T62" fmla="*/ 57 w 60"/>
                <a:gd name="T63" fmla="*/ 12 h 58"/>
                <a:gd name="T64" fmla="*/ 55 w 60"/>
                <a:gd name="T65" fmla="*/ 8 h 58"/>
                <a:gd name="T66" fmla="*/ 53 w 60"/>
                <a:gd name="T67" fmla="*/ 6 h 58"/>
                <a:gd name="T68" fmla="*/ 51 w 60"/>
                <a:gd name="T69" fmla="*/ 4 h 58"/>
                <a:gd name="T70" fmla="*/ 47 w 60"/>
                <a:gd name="T71" fmla="*/ 2 h 58"/>
                <a:gd name="T72" fmla="*/ 44 w 60"/>
                <a:gd name="T73" fmla="*/ 1 h 58"/>
                <a:gd name="T74" fmla="*/ 42 w 60"/>
                <a:gd name="T75" fmla="*/ 0 h 58"/>
                <a:gd name="T76" fmla="*/ 36 w 60"/>
                <a:gd name="T7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 h="58">
                  <a:moveTo>
                    <a:pt x="36" y="0"/>
                  </a:moveTo>
                  <a:lnTo>
                    <a:pt x="30" y="0"/>
                  </a:lnTo>
                  <a:lnTo>
                    <a:pt x="24" y="2"/>
                  </a:lnTo>
                  <a:lnTo>
                    <a:pt x="19" y="5"/>
                  </a:lnTo>
                  <a:lnTo>
                    <a:pt x="13" y="8"/>
                  </a:lnTo>
                  <a:lnTo>
                    <a:pt x="9" y="13"/>
                  </a:lnTo>
                  <a:lnTo>
                    <a:pt x="7" y="16"/>
                  </a:lnTo>
                  <a:lnTo>
                    <a:pt x="5" y="18"/>
                  </a:lnTo>
                  <a:lnTo>
                    <a:pt x="2" y="24"/>
                  </a:lnTo>
                  <a:lnTo>
                    <a:pt x="1" y="30"/>
                  </a:lnTo>
                  <a:lnTo>
                    <a:pt x="0" y="36"/>
                  </a:lnTo>
                  <a:lnTo>
                    <a:pt x="1" y="41"/>
                  </a:lnTo>
                  <a:lnTo>
                    <a:pt x="3" y="46"/>
                  </a:lnTo>
                  <a:lnTo>
                    <a:pt x="5" y="50"/>
                  </a:lnTo>
                  <a:lnTo>
                    <a:pt x="7" y="52"/>
                  </a:lnTo>
                  <a:lnTo>
                    <a:pt x="9" y="53"/>
                  </a:lnTo>
                  <a:lnTo>
                    <a:pt x="13" y="56"/>
                  </a:lnTo>
                  <a:lnTo>
                    <a:pt x="16" y="57"/>
                  </a:lnTo>
                  <a:lnTo>
                    <a:pt x="18" y="57"/>
                  </a:lnTo>
                  <a:lnTo>
                    <a:pt x="24" y="58"/>
                  </a:lnTo>
                  <a:lnTo>
                    <a:pt x="30" y="57"/>
                  </a:lnTo>
                  <a:lnTo>
                    <a:pt x="36" y="56"/>
                  </a:lnTo>
                  <a:lnTo>
                    <a:pt x="42" y="53"/>
                  </a:lnTo>
                  <a:lnTo>
                    <a:pt x="47" y="49"/>
                  </a:lnTo>
                  <a:lnTo>
                    <a:pt x="51" y="44"/>
                  </a:lnTo>
                  <a:lnTo>
                    <a:pt x="53" y="42"/>
                  </a:lnTo>
                  <a:lnTo>
                    <a:pt x="55" y="39"/>
                  </a:lnTo>
                  <a:lnTo>
                    <a:pt x="58" y="34"/>
                  </a:lnTo>
                  <a:lnTo>
                    <a:pt x="59" y="27"/>
                  </a:lnTo>
                  <a:lnTo>
                    <a:pt x="60" y="22"/>
                  </a:lnTo>
                  <a:lnTo>
                    <a:pt x="59" y="16"/>
                  </a:lnTo>
                  <a:lnTo>
                    <a:pt x="57" y="12"/>
                  </a:lnTo>
                  <a:lnTo>
                    <a:pt x="55" y="8"/>
                  </a:lnTo>
                  <a:lnTo>
                    <a:pt x="53" y="6"/>
                  </a:lnTo>
                  <a:lnTo>
                    <a:pt x="51" y="4"/>
                  </a:lnTo>
                  <a:lnTo>
                    <a:pt x="47" y="2"/>
                  </a:lnTo>
                  <a:lnTo>
                    <a:pt x="44" y="1"/>
                  </a:lnTo>
                  <a:lnTo>
                    <a:pt x="42" y="0"/>
                  </a:lnTo>
                  <a:lnTo>
                    <a:pt x="36" y="0"/>
                  </a:lnTo>
                  <a:close/>
                </a:path>
              </a:pathLst>
            </a:custGeom>
            <a:solidFill>
              <a:srgbClr val="000099"/>
            </a:solidFill>
            <a:ln>
              <a:noFill/>
            </a:ln>
            <a:extLst/>
          </p:spPr>
          <p:txBody>
            <a:bodyPr/>
            <a:lstStyle/>
            <a:p>
              <a:pPr defTabSz="454748" eaLnBrk="0" hangingPunct="0">
                <a:defRPr/>
              </a:pPr>
              <a:endParaRPr lang="en-US" sz="1813" dirty="0">
                <a:solidFill>
                  <a:srgbClr val="004266"/>
                </a:solidFill>
                <a:latin typeface="Arial"/>
                <a:ea typeface="MS PGothic" charset="-128"/>
                <a:cs typeface="Arial"/>
              </a:endParaRPr>
            </a:p>
          </p:txBody>
        </p:sp>
      </p:grpSp>
      <p:sp>
        <p:nvSpPr>
          <p:cNvPr id="18460" name="TextBox 11"/>
          <p:cNvSpPr txBox="1">
            <a:spLocks noChangeArrowheads="1"/>
          </p:cNvSpPr>
          <p:nvPr/>
        </p:nvSpPr>
        <p:spPr bwMode="auto">
          <a:xfrm>
            <a:off x="339328" y="1585913"/>
            <a:ext cx="2165747" cy="25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64" tIns="34282" rIns="68564" bIns="34282">
            <a:spAutoFit/>
          </a:bodyPr>
          <a:lstStyle>
            <a:lvl1pPr defTabSz="604838">
              <a:defRPr kumimoji="1">
                <a:solidFill>
                  <a:schemeClr val="tx1"/>
                </a:solidFill>
                <a:latin typeface="Arial" panose="020B0604020202020204" pitchFamily="34" charset="0"/>
                <a:ea typeface="MS PGothic" panose="020B0600070205080204" pitchFamily="34" charset="-128"/>
              </a:defRPr>
            </a:lvl1pPr>
            <a:lvl2pPr marL="742950" indent="-285750" defTabSz="604838">
              <a:defRPr kumimoji="1">
                <a:solidFill>
                  <a:schemeClr val="tx1"/>
                </a:solidFill>
                <a:latin typeface="Arial" panose="020B0604020202020204" pitchFamily="34" charset="0"/>
                <a:ea typeface="MS PGothic" panose="020B0600070205080204" pitchFamily="34" charset="-128"/>
              </a:defRPr>
            </a:lvl2pPr>
            <a:lvl3pPr marL="1143000" indent="-228600" defTabSz="604838">
              <a:defRPr kumimoji="1">
                <a:solidFill>
                  <a:schemeClr val="tx1"/>
                </a:solidFill>
                <a:latin typeface="Arial" panose="020B0604020202020204" pitchFamily="34" charset="0"/>
                <a:ea typeface="MS PGothic" panose="020B0600070205080204" pitchFamily="34" charset="-128"/>
              </a:defRPr>
            </a:lvl3pPr>
            <a:lvl4pPr marL="1600200" indent="-228600" defTabSz="604838">
              <a:defRPr kumimoji="1">
                <a:solidFill>
                  <a:schemeClr val="tx1"/>
                </a:solidFill>
                <a:latin typeface="Arial" panose="020B0604020202020204" pitchFamily="34" charset="0"/>
                <a:ea typeface="MS PGothic" panose="020B0600070205080204" pitchFamily="34" charset="-128"/>
              </a:defRPr>
            </a:lvl4pPr>
            <a:lvl5pPr marL="2057400" indent="-228600" defTabSz="604838">
              <a:defRPr kumimoji="1">
                <a:solidFill>
                  <a:schemeClr val="tx1"/>
                </a:solidFill>
                <a:latin typeface="Arial" panose="020B0604020202020204" pitchFamily="34" charset="0"/>
                <a:ea typeface="MS PGothic" panose="020B0600070205080204" pitchFamily="34" charset="-128"/>
              </a:defRPr>
            </a:lvl5pPr>
            <a:lvl6pPr marL="2514600" indent="-228600" defTabSz="604838"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defTabSz="604838"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defTabSz="604838"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defTabSz="604838"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algn="ctr" defTabSz="453629" eaLnBrk="0" fontAlgn="base" hangingPunct="0">
              <a:spcBef>
                <a:spcPct val="0"/>
              </a:spcBef>
              <a:spcAft>
                <a:spcPct val="0"/>
              </a:spcAft>
            </a:pPr>
            <a:r>
              <a:rPr kumimoji="0" lang="en-US" altLang="en-US" sz="1200" b="1">
                <a:solidFill>
                  <a:srgbClr val="004266"/>
                </a:solidFill>
                <a:cs typeface="Arial"/>
              </a:rPr>
              <a:t>Understand &amp; Collect Data</a:t>
            </a:r>
          </a:p>
        </p:txBody>
      </p:sp>
      <p:sp>
        <p:nvSpPr>
          <p:cNvPr id="18461" name="TextBox 94"/>
          <p:cNvSpPr txBox="1">
            <a:spLocks noChangeArrowheads="1"/>
          </p:cNvSpPr>
          <p:nvPr/>
        </p:nvSpPr>
        <p:spPr bwMode="auto">
          <a:xfrm>
            <a:off x="339328" y="3381375"/>
            <a:ext cx="2165747" cy="25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64" tIns="34282" rIns="68564" bIns="34282">
            <a:spAutoFit/>
          </a:bodyPr>
          <a:lstStyle>
            <a:lvl1pPr defTabSz="604838">
              <a:defRPr kumimoji="1">
                <a:solidFill>
                  <a:schemeClr val="tx1"/>
                </a:solidFill>
                <a:latin typeface="Arial" panose="020B0604020202020204" pitchFamily="34" charset="0"/>
                <a:ea typeface="MS PGothic" panose="020B0600070205080204" pitchFamily="34" charset="-128"/>
              </a:defRPr>
            </a:lvl1pPr>
            <a:lvl2pPr marL="742950" indent="-285750" defTabSz="604838">
              <a:defRPr kumimoji="1">
                <a:solidFill>
                  <a:schemeClr val="tx1"/>
                </a:solidFill>
                <a:latin typeface="Arial" panose="020B0604020202020204" pitchFamily="34" charset="0"/>
                <a:ea typeface="MS PGothic" panose="020B0600070205080204" pitchFamily="34" charset="-128"/>
              </a:defRPr>
            </a:lvl2pPr>
            <a:lvl3pPr marL="1143000" indent="-228600" defTabSz="604838">
              <a:defRPr kumimoji="1">
                <a:solidFill>
                  <a:schemeClr val="tx1"/>
                </a:solidFill>
                <a:latin typeface="Arial" panose="020B0604020202020204" pitchFamily="34" charset="0"/>
                <a:ea typeface="MS PGothic" panose="020B0600070205080204" pitchFamily="34" charset="-128"/>
              </a:defRPr>
            </a:lvl3pPr>
            <a:lvl4pPr marL="1600200" indent="-228600" defTabSz="604838">
              <a:defRPr kumimoji="1">
                <a:solidFill>
                  <a:schemeClr val="tx1"/>
                </a:solidFill>
                <a:latin typeface="Arial" panose="020B0604020202020204" pitchFamily="34" charset="0"/>
                <a:ea typeface="MS PGothic" panose="020B0600070205080204" pitchFamily="34" charset="-128"/>
              </a:defRPr>
            </a:lvl4pPr>
            <a:lvl5pPr marL="2057400" indent="-228600" defTabSz="604838">
              <a:defRPr kumimoji="1">
                <a:solidFill>
                  <a:schemeClr val="tx1"/>
                </a:solidFill>
                <a:latin typeface="Arial" panose="020B0604020202020204" pitchFamily="34" charset="0"/>
                <a:ea typeface="MS PGothic" panose="020B0600070205080204" pitchFamily="34" charset="-128"/>
              </a:defRPr>
            </a:lvl5pPr>
            <a:lvl6pPr marL="2514600" indent="-228600" defTabSz="604838"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defTabSz="604838"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defTabSz="604838"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defTabSz="604838"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algn="ctr" defTabSz="453629" eaLnBrk="0" fontAlgn="base" hangingPunct="0">
              <a:spcBef>
                <a:spcPct val="0"/>
              </a:spcBef>
              <a:spcAft>
                <a:spcPct val="0"/>
              </a:spcAft>
            </a:pPr>
            <a:r>
              <a:rPr kumimoji="0" lang="en-US" altLang="en-US" sz="1200" b="1">
                <a:solidFill>
                  <a:srgbClr val="004266"/>
                </a:solidFill>
                <a:cs typeface="Arial"/>
              </a:rPr>
              <a:t>Analyze Existing Systems</a:t>
            </a:r>
          </a:p>
        </p:txBody>
      </p:sp>
      <p:sp>
        <p:nvSpPr>
          <p:cNvPr id="58" name="TextBox 57"/>
          <p:cNvSpPr txBox="1"/>
          <p:nvPr/>
        </p:nvSpPr>
        <p:spPr>
          <a:xfrm>
            <a:off x="472678" y="3695700"/>
            <a:ext cx="976313" cy="134652"/>
          </a:xfrm>
          <a:prstGeom prst="rect">
            <a:avLst/>
          </a:prstGeom>
          <a:noFill/>
        </p:spPr>
        <p:txBody>
          <a:bodyPr lIns="0" tIns="0" rIns="0" bIns="0">
            <a:spAutoFit/>
          </a:bodyPr>
          <a:lstStyle/>
          <a:p>
            <a:pPr algn="ctr" defTabSz="454748" eaLnBrk="0" hangingPunct="0">
              <a:defRPr/>
            </a:pPr>
            <a:r>
              <a:rPr lang="en-US" sz="875" b="1" dirty="0">
                <a:solidFill>
                  <a:srgbClr val="808080"/>
                </a:solidFill>
                <a:latin typeface="Arial"/>
                <a:ea typeface="MS PGothic" charset="-128"/>
                <a:cs typeface="Arial"/>
              </a:rPr>
              <a:t>BI Systems</a:t>
            </a:r>
          </a:p>
        </p:txBody>
      </p:sp>
      <p:sp>
        <p:nvSpPr>
          <p:cNvPr id="71" name="TextBox 70"/>
          <p:cNvSpPr txBox="1"/>
          <p:nvPr/>
        </p:nvSpPr>
        <p:spPr>
          <a:xfrm>
            <a:off x="1485900" y="3695700"/>
            <a:ext cx="977504" cy="134652"/>
          </a:xfrm>
          <a:prstGeom prst="rect">
            <a:avLst/>
          </a:prstGeom>
          <a:noFill/>
        </p:spPr>
        <p:txBody>
          <a:bodyPr lIns="0" tIns="0" rIns="0" bIns="0">
            <a:spAutoFit/>
          </a:bodyPr>
          <a:lstStyle/>
          <a:p>
            <a:pPr algn="ctr" defTabSz="454748" eaLnBrk="0" hangingPunct="0">
              <a:defRPr/>
            </a:pPr>
            <a:r>
              <a:rPr lang="en-US" sz="875" b="1" dirty="0">
                <a:solidFill>
                  <a:srgbClr val="808080"/>
                </a:solidFill>
                <a:latin typeface="Arial"/>
                <a:ea typeface="MS PGothic" charset="-128"/>
                <a:cs typeface="Arial"/>
              </a:rPr>
              <a:t>Financials</a:t>
            </a:r>
          </a:p>
        </p:txBody>
      </p:sp>
      <p:sp>
        <p:nvSpPr>
          <p:cNvPr id="72" name="TextBox 71"/>
          <p:cNvSpPr txBox="1"/>
          <p:nvPr/>
        </p:nvSpPr>
        <p:spPr>
          <a:xfrm>
            <a:off x="1459706" y="4276725"/>
            <a:ext cx="977504" cy="134652"/>
          </a:xfrm>
          <a:prstGeom prst="rect">
            <a:avLst/>
          </a:prstGeom>
          <a:noFill/>
        </p:spPr>
        <p:txBody>
          <a:bodyPr lIns="0" tIns="0" rIns="0" bIns="0">
            <a:spAutoFit/>
          </a:bodyPr>
          <a:lstStyle/>
          <a:p>
            <a:pPr algn="ctr" defTabSz="454748" eaLnBrk="0" hangingPunct="0">
              <a:defRPr/>
            </a:pPr>
            <a:r>
              <a:rPr lang="en-US" sz="875" b="1" dirty="0">
                <a:solidFill>
                  <a:srgbClr val="808080"/>
                </a:solidFill>
                <a:latin typeface="Arial"/>
                <a:ea typeface="MS PGothic" charset="-128"/>
                <a:cs typeface="Arial"/>
              </a:rPr>
              <a:t>Dealer Systems</a:t>
            </a:r>
          </a:p>
        </p:txBody>
      </p:sp>
      <p:pic>
        <p:nvPicPr>
          <p:cNvPr id="18465" name="Picture 29" descr="http://icons.iconarchive.com/icons/fasticon/database/128/datas-icon.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91879" y="4416029"/>
            <a:ext cx="417909" cy="41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66" name="Picture 29" descr="http://icons.iconarchive.com/icons/fasticon/database/128/datas-icon.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47863" y="4416029"/>
            <a:ext cx="419100" cy="41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67" name="Picture 31" descr="http://icons.iconarchive.com/icons/gakuseisean/ivista-2/256/Misc-Database-1-icon.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82354" y="3617119"/>
            <a:ext cx="596503" cy="596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 name="TextBox 74"/>
          <p:cNvSpPr txBox="1"/>
          <p:nvPr/>
        </p:nvSpPr>
        <p:spPr>
          <a:xfrm>
            <a:off x="1508523" y="3931444"/>
            <a:ext cx="977503" cy="134652"/>
          </a:xfrm>
          <a:prstGeom prst="rect">
            <a:avLst/>
          </a:prstGeom>
          <a:noFill/>
        </p:spPr>
        <p:txBody>
          <a:bodyPr lIns="0" tIns="0" rIns="0" bIns="0">
            <a:spAutoFit/>
          </a:bodyPr>
          <a:lstStyle/>
          <a:p>
            <a:pPr algn="ctr" defTabSz="454748" eaLnBrk="0" hangingPunct="0">
              <a:defRPr/>
            </a:pPr>
            <a:r>
              <a:rPr lang="en-US" sz="875" b="1" dirty="0">
                <a:solidFill>
                  <a:srgbClr val="004266"/>
                </a:solidFill>
                <a:latin typeface="Arial"/>
                <a:ea typeface="MS PGothic" charset="-128"/>
                <a:cs typeface="Arial"/>
              </a:rPr>
              <a:t>$</a:t>
            </a:r>
          </a:p>
        </p:txBody>
      </p:sp>
      <p:grpSp>
        <p:nvGrpSpPr>
          <p:cNvPr id="18469" name="Group 739"/>
          <p:cNvGrpSpPr>
            <a:grpSpLocks/>
          </p:cNvGrpSpPr>
          <p:nvPr/>
        </p:nvGrpSpPr>
        <p:grpSpPr bwMode="auto">
          <a:xfrm>
            <a:off x="723900" y="2913460"/>
            <a:ext cx="410766" cy="388144"/>
            <a:chOff x="4962" y="3348"/>
            <a:chExt cx="461" cy="436"/>
          </a:xfrm>
        </p:grpSpPr>
        <p:sp>
          <p:nvSpPr>
            <p:cNvPr id="56" name="Freeform 740"/>
            <p:cNvSpPr>
              <a:spLocks/>
            </p:cNvSpPr>
            <p:nvPr/>
          </p:nvSpPr>
          <p:spPr bwMode="auto">
            <a:xfrm>
              <a:off x="4962" y="3348"/>
              <a:ext cx="261" cy="259"/>
            </a:xfrm>
            <a:custGeom>
              <a:avLst/>
              <a:gdLst>
                <a:gd name="T0" fmla="*/ 1 w 1043"/>
                <a:gd name="T1" fmla="*/ 478 h 1035"/>
                <a:gd name="T2" fmla="*/ 6 w 1043"/>
                <a:gd name="T3" fmla="*/ 438 h 1035"/>
                <a:gd name="T4" fmla="*/ 20 w 1043"/>
                <a:gd name="T5" fmla="*/ 376 h 1035"/>
                <a:gd name="T6" fmla="*/ 36 w 1043"/>
                <a:gd name="T7" fmla="*/ 328 h 1035"/>
                <a:gd name="T8" fmla="*/ 63 w 1043"/>
                <a:gd name="T9" fmla="*/ 271 h 1035"/>
                <a:gd name="T10" fmla="*/ 104 w 1043"/>
                <a:gd name="T11" fmla="*/ 208 h 1035"/>
                <a:gd name="T12" fmla="*/ 135 w 1043"/>
                <a:gd name="T13" fmla="*/ 170 h 1035"/>
                <a:gd name="T14" fmla="*/ 190 w 1043"/>
                <a:gd name="T15" fmla="*/ 118 h 1035"/>
                <a:gd name="T16" fmla="*/ 251 w 1043"/>
                <a:gd name="T17" fmla="*/ 75 h 1035"/>
                <a:gd name="T18" fmla="*/ 319 w 1043"/>
                <a:gd name="T19" fmla="*/ 41 h 1035"/>
                <a:gd name="T20" fmla="*/ 391 w 1043"/>
                <a:gd name="T21" fmla="*/ 16 h 1035"/>
                <a:gd name="T22" fmla="*/ 442 w 1043"/>
                <a:gd name="T23" fmla="*/ 6 h 1035"/>
                <a:gd name="T24" fmla="*/ 522 w 1043"/>
                <a:gd name="T25" fmla="*/ 0 h 1035"/>
                <a:gd name="T26" fmla="*/ 575 w 1043"/>
                <a:gd name="T27" fmla="*/ 2 h 1035"/>
                <a:gd name="T28" fmla="*/ 627 w 1043"/>
                <a:gd name="T29" fmla="*/ 11 h 1035"/>
                <a:gd name="T30" fmla="*/ 677 w 1043"/>
                <a:gd name="T31" fmla="*/ 23 h 1035"/>
                <a:gd name="T32" fmla="*/ 725 w 1043"/>
                <a:gd name="T33" fmla="*/ 41 h 1035"/>
                <a:gd name="T34" fmla="*/ 792 w 1043"/>
                <a:gd name="T35" fmla="*/ 75 h 1035"/>
                <a:gd name="T36" fmla="*/ 843 w 1043"/>
                <a:gd name="T37" fmla="*/ 111 h 1035"/>
                <a:gd name="T38" fmla="*/ 890 w 1043"/>
                <a:gd name="T39" fmla="*/ 151 h 1035"/>
                <a:gd name="T40" fmla="*/ 940 w 1043"/>
                <a:gd name="T41" fmla="*/ 208 h 1035"/>
                <a:gd name="T42" fmla="*/ 980 w 1043"/>
                <a:gd name="T43" fmla="*/ 271 h 1035"/>
                <a:gd name="T44" fmla="*/ 1012 w 1043"/>
                <a:gd name="T45" fmla="*/ 340 h 1035"/>
                <a:gd name="T46" fmla="*/ 1033 w 1043"/>
                <a:gd name="T47" fmla="*/ 413 h 1035"/>
                <a:gd name="T48" fmla="*/ 1041 w 1043"/>
                <a:gd name="T49" fmla="*/ 464 h 1035"/>
                <a:gd name="T50" fmla="*/ 1043 w 1043"/>
                <a:gd name="T51" fmla="*/ 544 h 1035"/>
                <a:gd name="T52" fmla="*/ 1040 w 1043"/>
                <a:gd name="T53" fmla="*/ 584 h 1035"/>
                <a:gd name="T54" fmla="*/ 1027 w 1043"/>
                <a:gd name="T55" fmla="*/ 647 h 1035"/>
                <a:gd name="T56" fmla="*/ 1012 w 1043"/>
                <a:gd name="T57" fmla="*/ 696 h 1035"/>
                <a:gd name="T58" fmla="*/ 992 w 1043"/>
                <a:gd name="T59" fmla="*/ 741 h 1035"/>
                <a:gd name="T60" fmla="*/ 954 w 1043"/>
                <a:gd name="T61" fmla="*/ 807 h 1035"/>
                <a:gd name="T62" fmla="*/ 924 w 1043"/>
                <a:gd name="T63" fmla="*/ 846 h 1035"/>
                <a:gd name="T64" fmla="*/ 873 w 1043"/>
                <a:gd name="T65" fmla="*/ 900 h 1035"/>
                <a:gd name="T66" fmla="*/ 813 w 1043"/>
                <a:gd name="T67" fmla="*/ 946 h 1035"/>
                <a:gd name="T68" fmla="*/ 748 w 1043"/>
                <a:gd name="T69" fmla="*/ 984 h 1035"/>
                <a:gd name="T70" fmla="*/ 677 w 1043"/>
                <a:gd name="T71" fmla="*/ 1011 h 1035"/>
                <a:gd name="T72" fmla="*/ 614 w 1043"/>
                <a:gd name="T73" fmla="*/ 1027 h 1035"/>
                <a:gd name="T74" fmla="*/ 549 w 1043"/>
                <a:gd name="T75" fmla="*/ 1035 h 1035"/>
                <a:gd name="T76" fmla="*/ 482 w 1043"/>
                <a:gd name="T77" fmla="*/ 1033 h 1035"/>
                <a:gd name="T78" fmla="*/ 442 w 1043"/>
                <a:gd name="T79" fmla="*/ 1028 h 1035"/>
                <a:gd name="T80" fmla="*/ 379 w 1043"/>
                <a:gd name="T81" fmla="*/ 1015 h 1035"/>
                <a:gd name="T82" fmla="*/ 330 w 1043"/>
                <a:gd name="T83" fmla="*/ 999 h 1035"/>
                <a:gd name="T84" fmla="*/ 273 w 1043"/>
                <a:gd name="T85" fmla="*/ 972 h 1035"/>
                <a:gd name="T86" fmla="*/ 210 w 1043"/>
                <a:gd name="T87" fmla="*/ 932 h 1035"/>
                <a:gd name="T88" fmla="*/ 171 w 1043"/>
                <a:gd name="T89" fmla="*/ 900 h 1035"/>
                <a:gd name="T90" fmla="*/ 119 w 1043"/>
                <a:gd name="T91" fmla="*/ 846 h 1035"/>
                <a:gd name="T92" fmla="*/ 76 w 1043"/>
                <a:gd name="T93" fmla="*/ 786 h 1035"/>
                <a:gd name="T94" fmla="*/ 41 w 1043"/>
                <a:gd name="T95" fmla="*/ 719 h 1035"/>
                <a:gd name="T96" fmla="*/ 16 w 1043"/>
                <a:gd name="T97" fmla="*/ 647 h 1035"/>
                <a:gd name="T98" fmla="*/ 6 w 1043"/>
                <a:gd name="T99" fmla="*/ 596 h 1035"/>
                <a:gd name="T100" fmla="*/ 0 w 1043"/>
                <a:gd name="T101" fmla="*/ 517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3" h="1035">
                  <a:moveTo>
                    <a:pt x="0" y="517"/>
                  </a:moveTo>
                  <a:lnTo>
                    <a:pt x="1" y="491"/>
                  </a:lnTo>
                  <a:lnTo>
                    <a:pt x="1" y="478"/>
                  </a:lnTo>
                  <a:lnTo>
                    <a:pt x="2" y="464"/>
                  </a:lnTo>
                  <a:lnTo>
                    <a:pt x="4" y="452"/>
                  </a:lnTo>
                  <a:lnTo>
                    <a:pt x="6" y="438"/>
                  </a:lnTo>
                  <a:lnTo>
                    <a:pt x="11" y="413"/>
                  </a:lnTo>
                  <a:lnTo>
                    <a:pt x="16" y="388"/>
                  </a:lnTo>
                  <a:lnTo>
                    <a:pt x="20" y="376"/>
                  </a:lnTo>
                  <a:lnTo>
                    <a:pt x="24" y="363"/>
                  </a:lnTo>
                  <a:lnTo>
                    <a:pt x="32" y="340"/>
                  </a:lnTo>
                  <a:lnTo>
                    <a:pt x="36" y="328"/>
                  </a:lnTo>
                  <a:lnTo>
                    <a:pt x="41" y="317"/>
                  </a:lnTo>
                  <a:lnTo>
                    <a:pt x="52" y="293"/>
                  </a:lnTo>
                  <a:lnTo>
                    <a:pt x="63" y="271"/>
                  </a:lnTo>
                  <a:lnTo>
                    <a:pt x="76" y="249"/>
                  </a:lnTo>
                  <a:lnTo>
                    <a:pt x="89" y="228"/>
                  </a:lnTo>
                  <a:lnTo>
                    <a:pt x="104" y="208"/>
                  </a:lnTo>
                  <a:lnTo>
                    <a:pt x="112" y="198"/>
                  </a:lnTo>
                  <a:lnTo>
                    <a:pt x="119" y="188"/>
                  </a:lnTo>
                  <a:lnTo>
                    <a:pt x="135" y="170"/>
                  </a:lnTo>
                  <a:lnTo>
                    <a:pt x="153" y="151"/>
                  </a:lnTo>
                  <a:lnTo>
                    <a:pt x="171" y="134"/>
                  </a:lnTo>
                  <a:lnTo>
                    <a:pt x="190" y="118"/>
                  </a:lnTo>
                  <a:lnTo>
                    <a:pt x="210" y="103"/>
                  </a:lnTo>
                  <a:lnTo>
                    <a:pt x="230" y="89"/>
                  </a:lnTo>
                  <a:lnTo>
                    <a:pt x="251" y="75"/>
                  </a:lnTo>
                  <a:lnTo>
                    <a:pt x="273" y="63"/>
                  </a:lnTo>
                  <a:lnTo>
                    <a:pt x="296" y="52"/>
                  </a:lnTo>
                  <a:lnTo>
                    <a:pt x="319" y="41"/>
                  </a:lnTo>
                  <a:lnTo>
                    <a:pt x="343" y="32"/>
                  </a:lnTo>
                  <a:lnTo>
                    <a:pt x="366" y="23"/>
                  </a:lnTo>
                  <a:lnTo>
                    <a:pt x="391" y="16"/>
                  </a:lnTo>
                  <a:lnTo>
                    <a:pt x="416" y="11"/>
                  </a:lnTo>
                  <a:lnTo>
                    <a:pt x="430" y="9"/>
                  </a:lnTo>
                  <a:lnTo>
                    <a:pt x="442" y="6"/>
                  </a:lnTo>
                  <a:lnTo>
                    <a:pt x="468" y="2"/>
                  </a:lnTo>
                  <a:lnTo>
                    <a:pt x="496" y="1"/>
                  </a:lnTo>
                  <a:lnTo>
                    <a:pt x="522" y="0"/>
                  </a:lnTo>
                  <a:lnTo>
                    <a:pt x="549" y="1"/>
                  </a:lnTo>
                  <a:lnTo>
                    <a:pt x="561" y="1"/>
                  </a:lnTo>
                  <a:lnTo>
                    <a:pt x="575" y="2"/>
                  </a:lnTo>
                  <a:lnTo>
                    <a:pt x="589" y="4"/>
                  </a:lnTo>
                  <a:lnTo>
                    <a:pt x="601" y="6"/>
                  </a:lnTo>
                  <a:lnTo>
                    <a:pt x="627" y="11"/>
                  </a:lnTo>
                  <a:lnTo>
                    <a:pt x="652" y="16"/>
                  </a:lnTo>
                  <a:lnTo>
                    <a:pt x="664" y="20"/>
                  </a:lnTo>
                  <a:lnTo>
                    <a:pt x="677" y="23"/>
                  </a:lnTo>
                  <a:lnTo>
                    <a:pt x="702" y="32"/>
                  </a:lnTo>
                  <a:lnTo>
                    <a:pt x="713" y="36"/>
                  </a:lnTo>
                  <a:lnTo>
                    <a:pt x="725" y="41"/>
                  </a:lnTo>
                  <a:lnTo>
                    <a:pt x="748" y="52"/>
                  </a:lnTo>
                  <a:lnTo>
                    <a:pt x="770" y="63"/>
                  </a:lnTo>
                  <a:lnTo>
                    <a:pt x="792" y="75"/>
                  </a:lnTo>
                  <a:lnTo>
                    <a:pt x="813" y="89"/>
                  </a:lnTo>
                  <a:lnTo>
                    <a:pt x="833" y="103"/>
                  </a:lnTo>
                  <a:lnTo>
                    <a:pt x="843" y="111"/>
                  </a:lnTo>
                  <a:lnTo>
                    <a:pt x="853" y="118"/>
                  </a:lnTo>
                  <a:lnTo>
                    <a:pt x="873" y="134"/>
                  </a:lnTo>
                  <a:lnTo>
                    <a:pt x="890" y="151"/>
                  </a:lnTo>
                  <a:lnTo>
                    <a:pt x="908" y="170"/>
                  </a:lnTo>
                  <a:lnTo>
                    <a:pt x="924" y="188"/>
                  </a:lnTo>
                  <a:lnTo>
                    <a:pt x="940" y="208"/>
                  </a:lnTo>
                  <a:lnTo>
                    <a:pt x="954" y="228"/>
                  </a:lnTo>
                  <a:lnTo>
                    <a:pt x="967" y="249"/>
                  </a:lnTo>
                  <a:lnTo>
                    <a:pt x="980" y="271"/>
                  </a:lnTo>
                  <a:lnTo>
                    <a:pt x="992" y="293"/>
                  </a:lnTo>
                  <a:lnTo>
                    <a:pt x="1002" y="317"/>
                  </a:lnTo>
                  <a:lnTo>
                    <a:pt x="1012" y="340"/>
                  </a:lnTo>
                  <a:lnTo>
                    <a:pt x="1020" y="363"/>
                  </a:lnTo>
                  <a:lnTo>
                    <a:pt x="1027" y="388"/>
                  </a:lnTo>
                  <a:lnTo>
                    <a:pt x="1033" y="413"/>
                  </a:lnTo>
                  <a:lnTo>
                    <a:pt x="1036" y="426"/>
                  </a:lnTo>
                  <a:lnTo>
                    <a:pt x="1037" y="438"/>
                  </a:lnTo>
                  <a:lnTo>
                    <a:pt x="1041" y="464"/>
                  </a:lnTo>
                  <a:lnTo>
                    <a:pt x="1043" y="491"/>
                  </a:lnTo>
                  <a:lnTo>
                    <a:pt x="1043" y="517"/>
                  </a:lnTo>
                  <a:lnTo>
                    <a:pt x="1043" y="544"/>
                  </a:lnTo>
                  <a:lnTo>
                    <a:pt x="1042" y="557"/>
                  </a:lnTo>
                  <a:lnTo>
                    <a:pt x="1041" y="570"/>
                  </a:lnTo>
                  <a:lnTo>
                    <a:pt x="1040" y="584"/>
                  </a:lnTo>
                  <a:lnTo>
                    <a:pt x="1037" y="596"/>
                  </a:lnTo>
                  <a:lnTo>
                    <a:pt x="1033" y="622"/>
                  </a:lnTo>
                  <a:lnTo>
                    <a:pt x="1027" y="647"/>
                  </a:lnTo>
                  <a:lnTo>
                    <a:pt x="1023" y="659"/>
                  </a:lnTo>
                  <a:lnTo>
                    <a:pt x="1020" y="671"/>
                  </a:lnTo>
                  <a:lnTo>
                    <a:pt x="1012" y="696"/>
                  </a:lnTo>
                  <a:lnTo>
                    <a:pt x="1007" y="707"/>
                  </a:lnTo>
                  <a:lnTo>
                    <a:pt x="1002" y="719"/>
                  </a:lnTo>
                  <a:lnTo>
                    <a:pt x="992" y="741"/>
                  </a:lnTo>
                  <a:lnTo>
                    <a:pt x="980" y="764"/>
                  </a:lnTo>
                  <a:lnTo>
                    <a:pt x="967" y="786"/>
                  </a:lnTo>
                  <a:lnTo>
                    <a:pt x="954" y="807"/>
                  </a:lnTo>
                  <a:lnTo>
                    <a:pt x="940" y="826"/>
                  </a:lnTo>
                  <a:lnTo>
                    <a:pt x="933" y="836"/>
                  </a:lnTo>
                  <a:lnTo>
                    <a:pt x="924" y="846"/>
                  </a:lnTo>
                  <a:lnTo>
                    <a:pt x="908" y="866"/>
                  </a:lnTo>
                  <a:lnTo>
                    <a:pt x="890" y="883"/>
                  </a:lnTo>
                  <a:lnTo>
                    <a:pt x="873" y="900"/>
                  </a:lnTo>
                  <a:lnTo>
                    <a:pt x="853" y="916"/>
                  </a:lnTo>
                  <a:lnTo>
                    <a:pt x="833" y="932"/>
                  </a:lnTo>
                  <a:lnTo>
                    <a:pt x="813" y="946"/>
                  </a:lnTo>
                  <a:lnTo>
                    <a:pt x="792" y="959"/>
                  </a:lnTo>
                  <a:lnTo>
                    <a:pt x="770" y="972"/>
                  </a:lnTo>
                  <a:lnTo>
                    <a:pt x="748" y="984"/>
                  </a:lnTo>
                  <a:lnTo>
                    <a:pt x="725" y="994"/>
                  </a:lnTo>
                  <a:lnTo>
                    <a:pt x="702" y="1004"/>
                  </a:lnTo>
                  <a:lnTo>
                    <a:pt x="677" y="1011"/>
                  </a:lnTo>
                  <a:lnTo>
                    <a:pt x="652" y="1019"/>
                  </a:lnTo>
                  <a:lnTo>
                    <a:pt x="627" y="1025"/>
                  </a:lnTo>
                  <a:lnTo>
                    <a:pt x="614" y="1027"/>
                  </a:lnTo>
                  <a:lnTo>
                    <a:pt x="601" y="1028"/>
                  </a:lnTo>
                  <a:lnTo>
                    <a:pt x="575" y="1032"/>
                  </a:lnTo>
                  <a:lnTo>
                    <a:pt x="549" y="1035"/>
                  </a:lnTo>
                  <a:lnTo>
                    <a:pt x="522" y="1035"/>
                  </a:lnTo>
                  <a:lnTo>
                    <a:pt x="496" y="1035"/>
                  </a:lnTo>
                  <a:lnTo>
                    <a:pt x="482" y="1033"/>
                  </a:lnTo>
                  <a:lnTo>
                    <a:pt x="468" y="1032"/>
                  </a:lnTo>
                  <a:lnTo>
                    <a:pt x="456" y="1031"/>
                  </a:lnTo>
                  <a:lnTo>
                    <a:pt x="442" y="1028"/>
                  </a:lnTo>
                  <a:lnTo>
                    <a:pt x="416" y="1025"/>
                  </a:lnTo>
                  <a:lnTo>
                    <a:pt x="391" y="1019"/>
                  </a:lnTo>
                  <a:lnTo>
                    <a:pt x="379" y="1015"/>
                  </a:lnTo>
                  <a:lnTo>
                    <a:pt x="366" y="1011"/>
                  </a:lnTo>
                  <a:lnTo>
                    <a:pt x="343" y="1004"/>
                  </a:lnTo>
                  <a:lnTo>
                    <a:pt x="330" y="999"/>
                  </a:lnTo>
                  <a:lnTo>
                    <a:pt x="319" y="994"/>
                  </a:lnTo>
                  <a:lnTo>
                    <a:pt x="296" y="984"/>
                  </a:lnTo>
                  <a:lnTo>
                    <a:pt x="273" y="972"/>
                  </a:lnTo>
                  <a:lnTo>
                    <a:pt x="251" y="959"/>
                  </a:lnTo>
                  <a:lnTo>
                    <a:pt x="230" y="946"/>
                  </a:lnTo>
                  <a:lnTo>
                    <a:pt x="210" y="932"/>
                  </a:lnTo>
                  <a:lnTo>
                    <a:pt x="200" y="925"/>
                  </a:lnTo>
                  <a:lnTo>
                    <a:pt x="190" y="916"/>
                  </a:lnTo>
                  <a:lnTo>
                    <a:pt x="171" y="900"/>
                  </a:lnTo>
                  <a:lnTo>
                    <a:pt x="153" y="883"/>
                  </a:lnTo>
                  <a:lnTo>
                    <a:pt x="135" y="866"/>
                  </a:lnTo>
                  <a:lnTo>
                    <a:pt x="119" y="846"/>
                  </a:lnTo>
                  <a:lnTo>
                    <a:pt x="104" y="826"/>
                  </a:lnTo>
                  <a:lnTo>
                    <a:pt x="89" y="807"/>
                  </a:lnTo>
                  <a:lnTo>
                    <a:pt x="76" y="786"/>
                  </a:lnTo>
                  <a:lnTo>
                    <a:pt x="63" y="764"/>
                  </a:lnTo>
                  <a:lnTo>
                    <a:pt x="52" y="741"/>
                  </a:lnTo>
                  <a:lnTo>
                    <a:pt x="41" y="719"/>
                  </a:lnTo>
                  <a:lnTo>
                    <a:pt x="32" y="696"/>
                  </a:lnTo>
                  <a:lnTo>
                    <a:pt x="24" y="671"/>
                  </a:lnTo>
                  <a:lnTo>
                    <a:pt x="16" y="647"/>
                  </a:lnTo>
                  <a:lnTo>
                    <a:pt x="11" y="622"/>
                  </a:lnTo>
                  <a:lnTo>
                    <a:pt x="9" y="608"/>
                  </a:lnTo>
                  <a:lnTo>
                    <a:pt x="6" y="596"/>
                  </a:lnTo>
                  <a:lnTo>
                    <a:pt x="2" y="570"/>
                  </a:lnTo>
                  <a:lnTo>
                    <a:pt x="1" y="544"/>
                  </a:lnTo>
                  <a:lnTo>
                    <a:pt x="0" y="517"/>
                  </a:lnTo>
                  <a:close/>
                </a:path>
              </a:pathLst>
            </a:custGeom>
            <a:solidFill>
              <a:srgbClr val="BEC4FD"/>
            </a:solidFill>
            <a:ln>
              <a:noFill/>
            </a:ln>
            <a:extLst/>
          </p:spPr>
          <p:txBody>
            <a:bodyPr/>
            <a:lstStyle/>
            <a:p>
              <a:pPr defTabSz="454748" eaLnBrk="0" hangingPunct="0">
                <a:defRPr/>
              </a:pPr>
              <a:endParaRPr lang="en-US" sz="1813" b="1" dirty="0">
                <a:ln w="12700">
                  <a:solidFill>
                    <a:srgbClr val="000000">
                      <a:satMod val="155000"/>
                    </a:srgbClr>
                  </a:solidFill>
                  <a:prstDash val="solid"/>
                </a:ln>
                <a:solidFill>
                  <a:srgbClr val="808080">
                    <a:tint val="85000"/>
                    <a:satMod val="155000"/>
                  </a:srgbClr>
                </a:solidFill>
                <a:effectLst>
                  <a:outerShdw blurRad="41275" dist="20320" dir="1800000" algn="tl" rotWithShape="0">
                    <a:srgbClr val="000000">
                      <a:alpha val="40000"/>
                    </a:srgbClr>
                  </a:outerShdw>
                </a:effectLst>
                <a:latin typeface="Arial"/>
                <a:ea typeface="MS PGothic" charset="-128"/>
                <a:cs typeface="Arial"/>
              </a:endParaRPr>
            </a:p>
          </p:txBody>
        </p:sp>
        <p:sp>
          <p:nvSpPr>
            <p:cNvPr id="57" name="Freeform 741"/>
            <p:cNvSpPr>
              <a:spLocks/>
            </p:cNvSpPr>
            <p:nvPr/>
          </p:nvSpPr>
          <p:spPr bwMode="auto">
            <a:xfrm>
              <a:off x="5162" y="3348"/>
              <a:ext cx="261" cy="259"/>
            </a:xfrm>
            <a:custGeom>
              <a:avLst/>
              <a:gdLst>
                <a:gd name="T0" fmla="*/ 1 w 1043"/>
                <a:gd name="T1" fmla="*/ 478 h 1035"/>
                <a:gd name="T2" fmla="*/ 6 w 1043"/>
                <a:gd name="T3" fmla="*/ 438 h 1035"/>
                <a:gd name="T4" fmla="*/ 20 w 1043"/>
                <a:gd name="T5" fmla="*/ 376 h 1035"/>
                <a:gd name="T6" fmla="*/ 36 w 1043"/>
                <a:gd name="T7" fmla="*/ 328 h 1035"/>
                <a:gd name="T8" fmla="*/ 63 w 1043"/>
                <a:gd name="T9" fmla="*/ 271 h 1035"/>
                <a:gd name="T10" fmla="*/ 104 w 1043"/>
                <a:gd name="T11" fmla="*/ 208 h 1035"/>
                <a:gd name="T12" fmla="*/ 135 w 1043"/>
                <a:gd name="T13" fmla="*/ 170 h 1035"/>
                <a:gd name="T14" fmla="*/ 190 w 1043"/>
                <a:gd name="T15" fmla="*/ 118 h 1035"/>
                <a:gd name="T16" fmla="*/ 251 w 1043"/>
                <a:gd name="T17" fmla="*/ 75 h 1035"/>
                <a:gd name="T18" fmla="*/ 319 w 1043"/>
                <a:gd name="T19" fmla="*/ 41 h 1035"/>
                <a:gd name="T20" fmla="*/ 391 w 1043"/>
                <a:gd name="T21" fmla="*/ 16 h 1035"/>
                <a:gd name="T22" fmla="*/ 442 w 1043"/>
                <a:gd name="T23" fmla="*/ 6 h 1035"/>
                <a:gd name="T24" fmla="*/ 521 w 1043"/>
                <a:gd name="T25" fmla="*/ 0 h 1035"/>
                <a:gd name="T26" fmla="*/ 575 w 1043"/>
                <a:gd name="T27" fmla="*/ 2 h 1035"/>
                <a:gd name="T28" fmla="*/ 627 w 1043"/>
                <a:gd name="T29" fmla="*/ 11 h 1035"/>
                <a:gd name="T30" fmla="*/ 677 w 1043"/>
                <a:gd name="T31" fmla="*/ 23 h 1035"/>
                <a:gd name="T32" fmla="*/ 725 w 1043"/>
                <a:gd name="T33" fmla="*/ 41 h 1035"/>
                <a:gd name="T34" fmla="*/ 792 w 1043"/>
                <a:gd name="T35" fmla="*/ 75 h 1035"/>
                <a:gd name="T36" fmla="*/ 843 w 1043"/>
                <a:gd name="T37" fmla="*/ 111 h 1035"/>
                <a:gd name="T38" fmla="*/ 890 w 1043"/>
                <a:gd name="T39" fmla="*/ 151 h 1035"/>
                <a:gd name="T40" fmla="*/ 940 w 1043"/>
                <a:gd name="T41" fmla="*/ 208 h 1035"/>
                <a:gd name="T42" fmla="*/ 980 w 1043"/>
                <a:gd name="T43" fmla="*/ 271 h 1035"/>
                <a:gd name="T44" fmla="*/ 1012 w 1043"/>
                <a:gd name="T45" fmla="*/ 340 h 1035"/>
                <a:gd name="T46" fmla="*/ 1033 w 1043"/>
                <a:gd name="T47" fmla="*/ 413 h 1035"/>
                <a:gd name="T48" fmla="*/ 1041 w 1043"/>
                <a:gd name="T49" fmla="*/ 464 h 1035"/>
                <a:gd name="T50" fmla="*/ 1043 w 1043"/>
                <a:gd name="T51" fmla="*/ 544 h 1035"/>
                <a:gd name="T52" fmla="*/ 1039 w 1043"/>
                <a:gd name="T53" fmla="*/ 584 h 1035"/>
                <a:gd name="T54" fmla="*/ 1027 w 1043"/>
                <a:gd name="T55" fmla="*/ 647 h 1035"/>
                <a:gd name="T56" fmla="*/ 1012 w 1043"/>
                <a:gd name="T57" fmla="*/ 696 h 1035"/>
                <a:gd name="T58" fmla="*/ 992 w 1043"/>
                <a:gd name="T59" fmla="*/ 741 h 1035"/>
                <a:gd name="T60" fmla="*/ 954 w 1043"/>
                <a:gd name="T61" fmla="*/ 807 h 1035"/>
                <a:gd name="T62" fmla="*/ 924 w 1043"/>
                <a:gd name="T63" fmla="*/ 846 h 1035"/>
                <a:gd name="T64" fmla="*/ 873 w 1043"/>
                <a:gd name="T65" fmla="*/ 900 h 1035"/>
                <a:gd name="T66" fmla="*/ 813 w 1043"/>
                <a:gd name="T67" fmla="*/ 946 h 1035"/>
                <a:gd name="T68" fmla="*/ 747 w 1043"/>
                <a:gd name="T69" fmla="*/ 984 h 1035"/>
                <a:gd name="T70" fmla="*/ 677 w 1043"/>
                <a:gd name="T71" fmla="*/ 1011 h 1035"/>
                <a:gd name="T72" fmla="*/ 613 w 1043"/>
                <a:gd name="T73" fmla="*/ 1027 h 1035"/>
                <a:gd name="T74" fmla="*/ 549 w 1043"/>
                <a:gd name="T75" fmla="*/ 1035 h 1035"/>
                <a:gd name="T76" fmla="*/ 482 w 1043"/>
                <a:gd name="T77" fmla="*/ 1033 h 1035"/>
                <a:gd name="T78" fmla="*/ 442 w 1043"/>
                <a:gd name="T79" fmla="*/ 1028 h 1035"/>
                <a:gd name="T80" fmla="*/ 379 w 1043"/>
                <a:gd name="T81" fmla="*/ 1015 h 1035"/>
                <a:gd name="T82" fmla="*/ 330 w 1043"/>
                <a:gd name="T83" fmla="*/ 999 h 1035"/>
                <a:gd name="T84" fmla="*/ 273 w 1043"/>
                <a:gd name="T85" fmla="*/ 972 h 1035"/>
                <a:gd name="T86" fmla="*/ 210 w 1043"/>
                <a:gd name="T87" fmla="*/ 932 h 1035"/>
                <a:gd name="T88" fmla="*/ 171 w 1043"/>
                <a:gd name="T89" fmla="*/ 900 h 1035"/>
                <a:gd name="T90" fmla="*/ 119 w 1043"/>
                <a:gd name="T91" fmla="*/ 846 h 1035"/>
                <a:gd name="T92" fmla="*/ 76 w 1043"/>
                <a:gd name="T93" fmla="*/ 786 h 1035"/>
                <a:gd name="T94" fmla="*/ 41 w 1043"/>
                <a:gd name="T95" fmla="*/ 719 h 1035"/>
                <a:gd name="T96" fmla="*/ 16 w 1043"/>
                <a:gd name="T97" fmla="*/ 647 h 1035"/>
                <a:gd name="T98" fmla="*/ 6 w 1043"/>
                <a:gd name="T99" fmla="*/ 596 h 1035"/>
                <a:gd name="T100" fmla="*/ 0 w 1043"/>
                <a:gd name="T101" fmla="*/ 517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3" h="1035">
                  <a:moveTo>
                    <a:pt x="0" y="517"/>
                  </a:moveTo>
                  <a:lnTo>
                    <a:pt x="1" y="491"/>
                  </a:lnTo>
                  <a:lnTo>
                    <a:pt x="1" y="478"/>
                  </a:lnTo>
                  <a:lnTo>
                    <a:pt x="2" y="464"/>
                  </a:lnTo>
                  <a:lnTo>
                    <a:pt x="4" y="452"/>
                  </a:lnTo>
                  <a:lnTo>
                    <a:pt x="6" y="438"/>
                  </a:lnTo>
                  <a:lnTo>
                    <a:pt x="11" y="413"/>
                  </a:lnTo>
                  <a:lnTo>
                    <a:pt x="16" y="388"/>
                  </a:lnTo>
                  <a:lnTo>
                    <a:pt x="20" y="376"/>
                  </a:lnTo>
                  <a:lnTo>
                    <a:pt x="23" y="363"/>
                  </a:lnTo>
                  <a:lnTo>
                    <a:pt x="32" y="340"/>
                  </a:lnTo>
                  <a:lnTo>
                    <a:pt x="36" y="328"/>
                  </a:lnTo>
                  <a:lnTo>
                    <a:pt x="41" y="317"/>
                  </a:lnTo>
                  <a:lnTo>
                    <a:pt x="52" y="293"/>
                  </a:lnTo>
                  <a:lnTo>
                    <a:pt x="63" y="271"/>
                  </a:lnTo>
                  <a:lnTo>
                    <a:pt x="76" y="249"/>
                  </a:lnTo>
                  <a:lnTo>
                    <a:pt x="89" y="228"/>
                  </a:lnTo>
                  <a:lnTo>
                    <a:pt x="104" y="208"/>
                  </a:lnTo>
                  <a:lnTo>
                    <a:pt x="112" y="198"/>
                  </a:lnTo>
                  <a:lnTo>
                    <a:pt x="119" y="188"/>
                  </a:lnTo>
                  <a:lnTo>
                    <a:pt x="135" y="170"/>
                  </a:lnTo>
                  <a:lnTo>
                    <a:pt x="153" y="151"/>
                  </a:lnTo>
                  <a:lnTo>
                    <a:pt x="171" y="134"/>
                  </a:lnTo>
                  <a:lnTo>
                    <a:pt x="190" y="118"/>
                  </a:lnTo>
                  <a:lnTo>
                    <a:pt x="210" y="103"/>
                  </a:lnTo>
                  <a:lnTo>
                    <a:pt x="230" y="89"/>
                  </a:lnTo>
                  <a:lnTo>
                    <a:pt x="251" y="75"/>
                  </a:lnTo>
                  <a:lnTo>
                    <a:pt x="273" y="63"/>
                  </a:lnTo>
                  <a:lnTo>
                    <a:pt x="295" y="52"/>
                  </a:lnTo>
                  <a:lnTo>
                    <a:pt x="319" y="41"/>
                  </a:lnTo>
                  <a:lnTo>
                    <a:pt x="343" y="32"/>
                  </a:lnTo>
                  <a:lnTo>
                    <a:pt x="366" y="23"/>
                  </a:lnTo>
                  <a:lnTo>
                    <a:pt x="391" y="16"/>
                  </a:lnTo>
                  <a:lnTo>
                    <a:pt x="416" y="11"/>
                  </a:lnTo>
                  <a:lnTo>
                    <a:pt x="430" y="9"/>
                  </a:lnTo>
                  <a:lnTo>
                    <a:pt x="442" y="6"/>
                  </a:lnTo>
                  <a:lnTo>
                    <a:pt x="468" y="2"/>
                  </a:lnTo>
                  <a:lnTo>
                    <a:pt x="495" y="1"/>
                  </a:lnTo>
                  <a:lnTo>
                    <a:pt x="521" y="0"/>
                  </a:lnTo>
                  <a:lnTo>
                    <a:pt x="549" y="1"/>
                  </a:lnTo>
                  <a:lnTo>
                    <a:pt x="561" y="1"/>
                  </a:lnTo>
                  <a:lnTo>
                    <a:pt x="575" y="2"/>
                  </a:lnTo>
                  <a:lnTo>
                    <a:pt x="588" y="4"/>
                  </a:lnTo>
                  <a:lnTo>
                    <a:pt x="601" y="6"/>
                  </a:lnTo>
                  <a:lnTo>
                    <a:pt x="627" y="11"/>
                  </a:lnTo>
                  <a:lnTo>
                    <a:pt x="652" y="16"/>
                  </a:lnTo>
                  <a:lnTo>
                    <a:pt x="664" y="20"/>
                  </a:lnTo>
                  <a:lnTo>
                    <a:pt x="677" y="23"/>
                  </a:lnTo>
                  <a:lnTo>
                    <a:pt x="702" y="32"/>
                  </a:lnTo>
                  <a:lnTo>
                    <a:pt x="713" y="36"/>
                  </a:lnTo>
                  <a:lnTo>
                    <a:pt x="725" y="41"/>
                  </a:lnTo>
                  <a:lnTo>
                    <a:pt x="747" y="52"/>
                  </a:lnTo>
                  <a:lnTo>
                    <a:pt x="770" y="63"/>
                  </a:lnTo>
                  <a:lnTo>
                    <a:pt x="792" y="75"/>
                  </a:lnTo>
                  <a:lnTo>
                    <a:pt x="813" y="89"/>
                  </a:lnTo>
                  <a:lnTo>
                    <a:pt x="833" y="103"/>
                  </a:lnTo>
                  <a:lnTo>
                    <a:pt x="843" y="111"/>
                  </a:lnTo>
                  <a:lnTo>
                    <a:pt x="853" y="118"/>
                  </a:lnTo>
                  <a:lnTo>
                    <a:pt x="873" y="134"/>
                  </a:lnTo>
                  <a:lnTo>
                    <a:pt x="890" y="151"/>
                  </a:lnTo>
                  <a:lnTo>
                    <a:pt x="908" y="170"/>
                  </a:lnTo>
                  <a:lnTo>
                    <a:pt x="924" y="188"/>
                  </a:lnTo>
                  <a:lnTo>
                    <a:pt x="940" y="208"/>
                  </a:lnTo>
                  <a:lnTo>
                    <a:pt x="954" y="228"/>
                  </a:lnTo>
                  <a:lnTo>
                    <a:pt x="967" y="249"/>
                  </a:lnTo>
                  <a:lnTo>
                    <a:pt x="980" y="271"/>
                  </a:lnTo>
                  <a:lnTo>
                    <a:pt x="992" y="293"/>
                  </a:lnTo>
                  <a:lnTo>
                    <a:pt x="1002" y="317"/>
                  </a:lnTo>
                  <a:lnTo>
                    <a:pt x="1012" y="340"/>
                  </a:lnTo>
                  <a:lnTo>
                    <a:pt x="1019" y="363"/>
                  </a:lnTo>
                  <a:lnTo>
                    <a:pt x="1027" y="388"/>
                  </a:lnTo>
                  <a:lnTo>
                    <a:pt x="1033" y="413"/>
                  </a:lnTo>
                  <a:lnTo>
                    <a:pt x="1036" y="426"/>
                  </a:lnTo>
                  <a:lnTo>
                    <a:pt x="1037" y="438"/>
                  </a:lnTo>
                  <a:lnTo>
                    <a:pt x="1041" y="464"/>
                  </a:lnTo>
                  <a:lnTo>
                    <a:pt x="1043" y="491"/>
                  </a:lnTo>
                  <a:lnTo>
                    <a:pt x="1043" y="517"/>
                  </a:lnTo>
                  <a:lnTo>
                    <a:pt x="1043" y="544"/>
                  </a:lnTo>
                  <a:lnTo>
                    <a:pt x="1042" y="557"/>
                  </a:lnTo>
                  <a:lnTo>
                    <a:pt x="1041" y="570"/>
                  </a:lnTo>
                  <a:lnTo>
                    <a:pt x="1039" y="584"/>
                  </a:lnTo>
                  <a:lnTo>
                    <a:pt x="1037" y="596"/>
                  </a:lnTo>
                  <a:lnTo>
                    <a:pt x="1033" y="622"/>
                  </a:lnTo>
                  <a:lnTo>
                    <a:pt x="1027" y="647"/>
                  </a:lnTo>
                  <a:lnTo>
                    <a:pt x="1023" y="659"/>
                  </a:lnTo>
                  <a:lnTo>
                    <a:pt x="1019" y="671"/>
                  </a:lnTo>
                  <a:lnTo>
                    <a:pt x="1012" y="696"/>
                  </a:lnTo>
                  <a:lnTo>
                    <a:pt x="1007" y="707"/>
                  </a:lnTo>
                  <a:lnTo>
                    <a:pt x="1002" y="719"/>
                  </a:lnTo>
                  <a:lnTo>
                    <a:pt x="992" y="741"/>
                  </a:lnTo>
                  <a:lnTo>
                    <a:pt x="980" y="764"/>
                  </a:lnTo>
                  <a:lnTo>
                    <a:pt x="967" y="786"/>
                  </a:lnTo>
                  <a:lnTo>
                    <a:pt x="954" y="807"/>
                  </a:lnTo>
                  <a:lnTo>
                    <a:pt x="940" y="826"/>
                  </a:lnTo>
                  <a:lnTo>
                    <a:pt x="933" y="836"/>
                  </a:lnTo>
                  <a:lnTo>
                    <a:pt x="924" y="846"/>
                  </a:lnTo>
                  <a:lnTo>
                    <a:pt x="908" y="866"/>
                  </a:lnTo>
                  <a:lnTo>
                    <a:pt x="890" y="883"/>
                  </a:lnTo>
                  <a:lnTo>
                    <a:pt x="873" y="900"/>
                  </a:lnTo>
                  <a:lnTo>
                    <a:pt x="853" y="916"/>
                  </a:lnTo>
                  <a:lnTo>
                    <a:pt x="833" y="932"/>
                  </a:lnTo>
                  <a:lnTo>
                    <a:pt x="813" y="946"/>
                  </a:lnTo>
                  <a:lnTo>
                    <a:pt x="792" y="959"/>
                  </a:lnTo>
                  <a:lnTo>
                    <a:pt x="770" y="972"/>
                  </a:lnTo>
                  <a:lnTo>
                    <a:pt x="747" y="984"/>
                  </a:lnTo>
                  <a:lnTo>
                    <a:pt x="725" y="994"/>
                  </a:lnTo>
                  <a:lnTo>
                    <a:pt x="702" y="1004"/>
                  </a:lnTo>
                  <a:lnTo>
                    <a:pt x="677" y="1011"/>
                  </a:lnTo>
                  <a:lnTo>
                    <a:pt x="652" y="1019"/>
                  </a:lnTo>
                  <a:lnTo>
                    <a:pt x="627" y="1025"/>
                  </a:lnTo>
                  <a:lnTo>
                    <a:pt x="613" y="1027"/>
                  </a:lnTo>
                  <a:lnTo>
                    <a:pt x="601" y="1028"/>
                  </a:lnTo>
                  <a:lnTo>
                    <a:pt x="575" y="1032"/>
                  </a:lnTo>
                  <a:lnTo>
                    <a:pt x="549" y="1035"/>
                  </a:lnTo>
                  <a:lnTo>
                    <a:pt x="521" y="1035"/>
                  </a:lnTo>
                  <a:lnTo>
                    <a:pt x="495" y="1035"/>
                  </a:lnTo>
                  <a:lnTo>
                    <a:pt x="482" y="1033"/>
                  </a:lnTo>
                  <a:lnTo>
                    <a:pt x="468" y="1032"/>
                  </a:lnTo>
                  <a:lnTo>
                    <a:pt x="456" y="1031"/>
                  </a:lnTo>
                  <a:lnTo>
                    <a:pt x="442" y="1028"/>
                  </a:lnTo>
                  <a:lnTo>
                    <a:pt x="416" y="1025"/>
                  </a:lnTo>
                  <a:lnTo>
                    <a:pt x="391" y="1019"/>
                  </a:lnTo>
                  <a:lnTo>
                    <a:pt x="379" y="1015"/>
                  </a:lnTo>
                  <a:lnTo>
                    <a:pt x="366" y="1011"/>
                  </a:lnTo>
                  <a:lnTo>
                    <a:pt x="343" y="1004"/>
                  </a:lnTo>
                  <a:lnTo>
                    <a:pt x="330" y="999"/>
                  </a:lnTo>
                  <a:lnTo>
                    <a:pt x="319" y="994"/>
                  </a:lnTo>
                  <a:lnTo>
                    <a:pt x="295" y="984"/>
                  </a:lnTo>
                  <a:lnTo>
                    <a:pt x="273" y="972"/>
                  </a:lnTo>
                  <a:lnTo>
                    <a:pt x="251" y="959"/>
                  </a:lnTo>
                  <a:lnTo>
                    <a:pt x="230" y="946"/>
                  </a:lnTo>
                  <a:lnTo>
                    <a:pt x="210" y="932"/>
                  </a:lnTo>
                  <a:lnTo>
                    <a:pt x="200" y="925"/>
                  </a:lnTo>
                  <a:lnTo>
                    <a:pt x="190" y="916"/>
                  </a:lnTo>
                  <a:lnTo>
                    <a:pt x="171" y="900"/>
                  </a:lnTo>
                  <a:lnTo>
                    <a:pt x="153" y="883"/>
                  </a:lnTo>
                  <a:lnTo>
                    <a:pt x="135" y="866"/>
                  </a:lnTo>
                  <a:lnTo>
                    <a:pt x="119" y="846"/>
                  </a:lnTo>
                  <a:lnTo>
                    <a:pt x="104" y="826"/>
                  </a:lnTo>
                  <a:lnTo>
                    <a:pt x="89" y="807"/>
                  </a:lnTo>
                  <a:lnTo>
                    <a:pt x="76" y="786"/>
                  </a:lnTo>
                  <a:lnTo>
                    <a:pt x="63" y="764"/>
                  </a:lnTo>
                  <a:lnTo>
                    <a:pt x="52" y="741"/>
                  </a:lnTo>
                  <a:lnTo>
                    <a:pt x="41" y="719"/>
                  </a:lnTo>
                  <a:lnTo>
                    <a:pt x="32" y="696"/>
                  </a:lnTo>
                  <a:lnTo>
                    <a:pt x="23" y="671"/>
                  </a:lnTo>
                  <a:lnTo>
                    <a:pt x="16" y="647"/>
                  </a:lnTo>
                  <a:lnTo>
                    <a:pt x="11" y="622"/>
                  </a:lnTo>
                  <a:lnTo>
                    <a:pt x="9" y="608"/>
                  </a:lnTo>
                  <a:lnTo>
                    <a:pt x="6" y="596"/>
                  </a:lnTo>
                  <a:lnTo>
                    <a:pt x="2" y="570"/>
                  </a:lnTo>
                  <a:lnTo>
                    <a:pt x="1" y="544"/>
                  </a:lnTo>
                  <a:lnTo>
                    <a:pt x="0" y="517"/>
                  </a:lnTo>
                  <a:close/>
                </a:path>
              </a:pathLst>
            </a:custGeom>
            <a:solidFill>
              <a:srgbClr val="BEC4FD"/>
            </a:solidFill>
            <a:ln>
              <a:noFill/>
            </a:ln>
            <a:extLst/>
          </p:spPr>
          <p:txBody>
            <a:bodyPr/>
            <a:lstStyle/>
            <a:p>
              <a:pPr defTabSz="454748" eaLnBrk="0" hangingPunct="0">
                <a:defRPr/>
              </a:pPr>
              <a:endParaRPr lang="en-US" sz="1813" b="1" dirty="0">
                <a:ln w="12700">
                  <a:solidFill>
                    <a:srgbClr val="000000">
                      <a:satMod val="155000"/>
                    </a:srgbClr>
                  </a:solidFill>
                  <a:prstDash val="solid"/>
                </a:ln>
                <a:solidFill>
                  <a:srgbClr val="808080">
                    <a:tint val="85000"/>
                    <a:satMod val="155000"/>
                  </a:srgbClr>
                </a:solidFill>
                <a:effectLst>
                  <a:outerShdw blurRad="41275" dist="20320" dir="1800000" algn="tl" rotWithShape="0">
                    <a:srgbClr val="000000">
                      <a:alpha val="40000"/>
                    </a:srgbClr>
                  </a:outerShdw>
                </a:effectLst>
                <a:latin typeface="Arial"/>
                <a:ea typeface="MS PGothic" charset="-128"/>
                <a:cs typeface="Arial"/>
              </a:endParaRPr>
            </a:p>
          </p:txBody>
        </p:sp>
        <p:sp>
          <p:nvSpPr>
            <p:cNvPr id="60" name="Freeform 742"/>
            <p:cNvSpPr>
              <a:spLocks/>
            </p:cNvSpPr>
            <p:nvPr/>
          </p:nvSpPr>
          <p:spPr bwMode="auto">
            <a:xfrm>
              <a:off x="5062" y="3525"/>
              <a:ext cx="261" cy="259"/>
            </a:xfrm>
            <a:custGeom>
              <a:avLst/>
              <a:gdLst>
                <a:gd name="T0" fmla="*/ 1 w 1043"/>
                <a:gd name="T1" fmla="*/ 478 h 1035"/>
                <a:gd name="T2" fmla="*/ 6 w 1043"/>
                <a:gd name="T3" fmla="*/ 439 h 1035"/>
                <a:gd name="T4" fmla="*/ 20 w 1043"/>
                <a:gd name="T5" fmla="*/ 376 h 1035"/>
                <a:gd name="T6" fmla="*/ 36 w 1043"/>
                <a:gd name="T7" fmla="*/ 328 h 1035"/>
                <a:gd name="T8" fmla="*/ 63 w 1043"/>
                <a:gd name="T9" fmla="*/ 271 h 1035"/>
                <a:gd name="T10" fmla="*/ 104 w 1043"/>
                <a:gd name="T11" fmla="*/ 209 h 1035"/>
                <a:gd name="T12" fmla="*/ 135 w 1043"/>
                <a:gd name="T13" fmla="*/ 170 h 1035"/>
                <a:gd name="T14" fmla="*/ 190 w 1043"/>
                <a:gd name="T15" fmla="*/ 119 h 1035"/>
                <a:gd name="T16" fmla="*/ 251 w 1043"/>
                <a:gd name="T17" fmla="*/ 76 h 1035"/>
                <a:gd name="T18" fmla="*/ 319 w 1043"/>
                <a:gd name="T19" fmla="*/ 41 h 1035"/>
                <a:gd name="T20" fmla="*/ 391 w 1043"/>
                <a:gd name="T21" fmla="*/ 16 h 1035"/>
                <a:gd name="T22" fmla="*/ 442 w 1043"/>
                <a:gd name="T23" fmla="*/ 7 h 1035"/>
                <a:gd name="T24" fmla="*/ 522 w 1043"/>
                <a:gd name="T25" fmla="*/ 0 h 1035"/>
                <a:gd name="T26" fmla="*/ 575 w 1043"/>
                <a:gd name="T27" fmla="*/ 3 h 1035"/>
                <a:gd name="T28" fmla="*/ 627 w 1043"/>
                <a:gd name="T29" fmla="*/ 12 h 1035"/>
                <a:gd name="T30" fmla="*/ 677 w 1043"/>
                <a:gd name="T31" fmla="*/ 24 h 1035"/>
                <a:gd name="T32" fmla="*/ 725 w 1043"/>
                <a:gd name="T33" fmla="*/ 41 h 1035"/>
                <a:gd name="T34" fmla="*/ 792 w 1043"/>
                <a:gd name="T35" fmla="*/ 76 h 1035"/>
                <a:gd name="T36" fmla="*/ 843 w 1043"/>
                <a:gd name="T37" fmla="*/ 111 h 1035"/>
                <a:gd name="T38" fmla="*/ 890 w 1043"/>
                <a:gd name="T39" fmla="*/ 152 h 1035"/>
                <a:gd name="T40" fmla="*/ 940 w 1043"/>
                <a:gd name="T41" fmla="*/ 209 h 1035"/>
                <a:gd name="T42" fmla="*/ 980 w 1043"/>
                <a:gd name="T43" fmla="*/ 271 h 1035"/>
                <a:gd name="T44" fmla="*/ 1012 w 1043"/>
                <a:gd name="T45" fmla="*/ 340 h 1035"/>
                <a:gd name="T46" fmla="*/ 1033 w 1043"/>
                <a:gd name="T47" fmla="*/ 413 h 1035"/>
                <a:gd name="T48" fmla="*/ 1041 w 1043"/>
                <a:gd name="T49" fmla="*/ 465 h 1035"/>
                <a:gd name="T50" fmla="*/ 1043 w 1043"/>
                <a:gd name="T51" fmla="*/ 545 h 1035"/>
                <a:gd name="T52" fmla="*/ 1039 w 1043"/>
                <a:gd name="T53" fmla="*/ 584 h 1035"/>
                <a:gd name="T54" fmla="*/ 1027 w 1043"/>
                <a:gd name="T55" fmla="*/ 647 h 1035"/>
                <a:gd name="T56" fmla="*/ 1012 w 1043"/>
                <a:gd name="T57" fmla="*/ 696 h 1035"/>
                <a:gd name="T58" fmla="*/ 992 w 1043"/>
                <a:gd name="T59" fmla="*/ 742 h 1035"/>
                <a:gd name="T60" fmla="*/ 954 w 1043"/>
                <a:gd name="T61" fmla="*/ 807 h 1035"/>
                <a:gd name="T62" fmla="*/ 924 w 1043"/>
                <a:gd name="T63" fmla="*/ 847 h 1035"/>
                <a:gd name="T64" fmla="*/ 873 w 1043"/>
                <a:gd name="T65" fmla="*/ 901 h 1035"/>
                <a:gd name="T66" fmla="*/ 813 w 1043"/>
                <a:gd name="T67" fmla="*/ 946 h 1035"/>
                <a:gd name="T68" fmla="*/ 748 w 1043"/>
                <a:gd name="T69" fmla="*/ 985 h 1035"/>
                <a:gd name="T70" fmla="*/ 677 w 1043"/>
                <a:gd name="T71" fmla="*/ 1012 h 1035"/>
                <a:gd name="T72" fmla="*/ 613 w 1043"/>
                <a:gd name="T73" fmla="*/ 1028 h 1035"/>
                <a:gd name="T74" fmla="*/ 549 w 1043"/>
                <a:gd name="T75" fmla="*/ 1035 h 1035"/>
                <a:gd name="T76" fmla="*/ 482 w 1043"/>
                <a:gd name="T77" fmla="*/ 1034 h 1035"/>
                <a:gd name="T78" fmla="*/ 442 w 1043"/>
                <a:gd name="T79" fmla="*/ 1029 h 1035"/>
                <a:gd name="T80" fmla="*/ 379 w 1043"/>
                <a:gd name="T81" fmla="*/ 1015 h 1035"/>
                <a:gd name="T82" fmla="*/ 330 w 1043"/>
                <a:gd name="T83" fmla="*/ 999 h 1035"/>
                <a:gd name="T84" fmla="*/ 273 w 1043"/>
                <a:gd name="T85" fmla="*/ 972 h 1035"/>
                <a:gd name="T86" fmla="*/ 210 w 1043"/>
                <a:gd name="T87" fmla="*/ 933 h 1035"/>
                <a:gd name="T88" fmla="*/ 171 w 1043"/>
                <a:gd name="T89" fmla="*/ 901 h 1035"/>
                <a:gd name="T90" fmla="*/ 119 w 1043"/>
                <a:gd name="T91" fmla="*/ 847 h 1035"/>
                <a:gd name="T92" fmla="*/ 76 w 1043"/>
                <a:gd name="T93" fmla="*/ 786 h 1035"/>
                <a:gd name="T94" fmla="*/ 41 w 1043"/>
                <a:gd name="T95" fmla="*/ 720 h 1035"/>
                <a:gd name="T96" fmla="*/ 16 w 1043"/>
                <a:gd name="T97" fmla="*/ 647 h 1035"/>
                <a:gd name="T98" fmla="*/ 6 w 1043"/>
                <a:gd name="T99" fmla="*/ 597 h 1035"/>
                <a:gd name="T100" fmla="*/ 0 w 1043"/>
                <a:gd name="T101" fmla="*/ 518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3" h="1035">
                  <a:moveTo>
                    <a:pt x="0" y="518"/>
                  </a:moveTo>
                  <a:lnTo>
                    <a:pt x="1" y="492"/>
                  </a:lnTo>
                  <a:lnTo>
                    <a:pt x="1" y="478"/>
                  </a:lnTo>
                  <a:lnTo>
                    <a:pt x="2" y="465"/>
                  </a:lnTo>
                  <a:lnTo>
                    <a:pt x="4" y="452"/>
                  </a:lnTo>
                  <a:lnTo>
                    <a:pt x="6" y="439"/>
                  </a:lnTo>
                  <a:lnTo>
                    <a:pt x="11" y="413"/>
                  </a:lnTo>
                  <a:lnTo>
                    <a:pt x="16" y="388"/>
                  </a:lnTo>
                  <a:lnTo>
                    <a:pt x="20" y="376"/>
                  </a:lnTo>
                  <a:lnTo>
                    <a:pt x="24" y="364"/>
                  </a:lnTo>
                  <a:lnTo>
                    <a:pt x="32" y="340"/>
                  </a:lnTo>
                  <a:lnTo>
                    <a:pt x="36" y="328"/>
                  </a:lnTo>
                  <a:lnTo>
                    <a:pt x="41" y="317"/>
                  </a:lnTo>
                  <a:lnTo>
                    <a:pt x="52" y="294"/>
                  </a:lnTo>
                  <a:lnTo>
                    <a:pt x="63" y="271"/>
                  </a:lnTo>
                  <a:lnTo>
                    <a:pt x="76" y="249"/>
                  </a:lnTo>
                  <a:lnTo>
                    <a:pt x="89" y="228"/>
                  </a:lnTo>
                  <a:lnTo>
                    <a:pt x="104" y="209"/>
                  </a:lnTo>
                  <a:lnTo>
                    <a:pt x="112" y="199"/>
                  </a:lnTo>
                  <a:lnTo>
                    <a:pt x="119" y="189"/>
                  </a:lnTo>
                  <a:lnTo>
                    <a:pt x="135" y="170"/>
                  </a:lnTo>
                  <a:lnTo>
                    <a:pt x="153" y="152"/>
                  </a:lnTo>
                  <a:lnTo>
                    <a:pt x="171" y="135"/>
                  </a:lnTo>
                  <a:lnTo>
                    <a:pt x="190" y="119"/>
                  </a:lnTo>
                  <a:lnTo>
                    <a:pt x="210" y="104"/>
                  </a:lnTo>
                  <a:lnTo>
                    <a:pt x="230" y="89"/>
                  </a:lnTo>
                  <a:lnTo>
                    <a:pt x="251" y="76"/>
                  </a:lnTo>
                  <a:lnTo>
                    <a:pt x="273" y="63"/>
                  </a:lnTo>
                  <a:lnTo>
                    <a:pt x="295" y="52"/>
                  </a:lnTo>
                  <a:lnTo>
                    <a:pt x="319" y="41"/>
                  </a:lnTo>
                  <a:lnTo>
                    <a:pt x="343" y="32"/>
                  </a:lnTo>
                  <a:lnTo>
                    <a:pt x="366" y="24"/>
                  </a:lnTo>
                  <a:lnTo>
                    <a:pt x="391" y="16"/>
                  </a:lnTo>
                  <a:lnTo>
                    <a:pt x="416" y="12"/>
                  </a:lnTo>
                  <a:lnTo>
                    <a:pt x="430" y="9"/>
                  </a:lnTo>
                  <a:lnTo>
                    <a:pt x="442" y="7"/>
                  </a:lnTo>
                  <a:lnTo>
                    <a:pt x="468" y="3"/>
                  </a:lnTo>
                  <a:lnTo>
                    <a:pt x="495" y="2"/>
                  </a:lnTo>
                  <a:lnTo>
                    <a:pt x="522" y="0"/>
                  </a:lnTo>
                  <a:lnTo>
                    <a:pt x="549" y="2"/>
                  </a:lnTo>
                  <a:lnTo>
                    <a:pt x="561" y="2"/>
                  </a:lnTo>
                  <a:lnTo>
                    <a:pt x="575" y="3"/>
                  </a:lnTo>
                  <a:lnTo>
                    <a:pt x="589" y="4"/>
                  </a:lnTo>
                  <a:lnTo>
                    <a:pt x="601" y="7"/>
                  </a:lnTo>
                  <a:lnTo>
                    <a:pt x="627" y="12"/>
                  </a:lnTo>
                  <a:lnTo>
                    <a:pt x="652" y="16"/>
                  </a:lnTo>
                  <a:lnTo>
                    <a:pt x="664" y="20"/>
                  </a:lnTo>
                  <a:lnTo>
                    <a:pt x="677" y="24"/>
                  </a:lnTo>
                  <a:lnTo>
                    <a:pt x="702" y="32"/>
                  </a:lnTo>
                  <a:lnTo>
                    <a:pt x="713" y="36"/>
                  </a:lnTo>
                  <a:lnTo>
                    <a:pt x="725" y="41"/>
                  </a:lnTo>
                  <a:lnTo>
                    <a:pt x="748" y="52"/>
                  </a:lnTo>
                  <a:lnTo>
                    <a:pt x="770" y="63"/>
                  </a:lnTo>
                  <a:lnTo>
                    <a:pt x="792" y="76"/>
                  </a:lnTo>
                  <a:lnTo>
                    <a:pt x="813" y="89"/>
                  </a:lnTo>
                  <a:lnTo>
                    <a:pt x="833" y="104"/>
                  </a:lnTo>
                  <a:lnTo>
                    <a:pt x="843" y="111"/>
                  </a:lnTo>
                  <a:lnTo>
                    <a:pt x="853" y="119"/>
                  </a:lnTo>
                  <a:lnTo>
                    <a:pt x="873" y="135"/>
                  </a:lnTo>
                  <a:lnTo>
                    <a:pt x="890" y="152"/>
                  </a:lnTo>
                  <a:lnTo>
                    <a:pt x="908" y="170"/>
                  </a:lnTo>
                  <a:lnTo>
                    <a:pt x="924" y="189"/>
                  </a:lnTo>
                  <a:lnTo>
                    <a:pt x="940" y="209"/>
                  </a:lnTo>
                  <a:lnTo>
                    <a:pt x="954" y="228"/>
                  </a:lnTo>
                  <a:lnTo>
                    <a:pt x="967" y="249"/>
                  </a:lnTo>
                  <a:lnTo>
                    <a:pt x="980" y="271"/>
                  </a:lnTo>
                  <a:lnTo>
                    <a:pt x="992" y="294"/>
                  </a:lnTo>
                  <a:lnTo>
                    <a:pt x="1002" y="317"/>
                  </a:lnTo>
                  <a:lnTo>
                    <a:pt x="1012" y="340"/>
                  </a:lnTo>
                  <a:lnTo>
                    <a:pt x="1020" y="364"/>
                  </a:lnTo>
                  <a:lnTo>
                    <a:pt x="1027" y="388"/>
                  </a:lnTo>
                  <a:lnTo>
                    <a:pt x="1033" y="413"/>
                  </a:lnTo>
                  <a:lnTo>
                    <a:pt x="1036" y="427"/>
                  </a:lnTo>
                  <a:lnTo>
                    <a:pt x="1037" y="439"/>
                  </a:lnTo>
                  <a:lnTo>
                    <a:pt x="1041" y="465"/>
                  </a:lnTo>
                  <a:lnTo>
                    <a:pt x="1043" y="492"/>
                  </a:lnTo>
                  <a:lnTo>
                    <a:pt x="1043" y="518"/>
                  </a:lnTo>
                  <a:lnTo>
                    <a:pt x="1043" y="545"/>
                  </a:lnTo>
                  <a:lnTo>
                    <a:pt x="1042" y="557"/>
                  </a:lnTo>
                  <a:lnTo>
                    <a:pt x="1041" y="571"/>
                  </a:lnTo>
                  <a:lnTo>
                    <a:pt x="1039" y="584"/>
                  </a:lnTo>
                  <a:lnTo>
                    <a:pt x="1037" y="597"/>
                  </a:lnTo>
                  <a:lnTo>
                    <a:pt x="1033" y="622"/>
                  </a:lnTo>
                  <a:lnTo>
                    <a:pt x="1027" y="647"/>
                  </a:lnTo>
                  <a:lnTo>
                    <a:pt x="1023" y="659"/>
                  </a:lnTo>
                  <a:lnTo>
                    <a:pt x="1020" y="672"/>
                  </a:lnTo>
                  <a:lnTo>
                    <a:pt x="1012" y="696"/>
                  </a:lnTo>
                  <a:lnTo>
                    <a:pt x="1007" y="707"/>
                  </a:lnTo>
                  <a:lnTo>
                    <a:pt x="1002" y="720"/>
                  </a:lnTo>
                  <a:lnTo>
                    <a:pt x="992" y="742"/>
                  </a:lnTo>
                  <a:lnTo>
                    <a:pt x="980" y="764"/>
                  </a:lnTo>
                  <a:lnTo>
                    <a:pt x="967" y="786"/>
                  </a:lnTo>
                  <a:lnTo>
                    <a:pt x="954" y="807"/>
                  </a:lnTo>
                  <a:lnTo>
                    <a:pt x="940" y="827"/>
                  </a:lnTo>
                  <a:lnTo>
                    <a:pt x="933" y="837"/>
                  </a:lnTo>
                  <a:lnTo>
                    <a:pt x="924" y="847"/>
                  </a:lnTo>
                  <a:lnTo>
                    <a:pt x="908" y="866"/>
                  </a:lnTo>
                  <a:lnTo>
                    <a:pt x="890" y="884"/>
                  </a:lnTo>
                  <a:lnTo>
                    <a:pt x="873" y="901"/>
                  </a:lnTo>
                  <a:lnTo>
                    <a:pt x="853" y="917"/>
                  </a:lnTo>
                  <a:lnTo>
                    <a:pt x="833" y="933"/>
                  </a:lnTo>
                  <a:lnTo>
                    <a:pt x="813" y="946"/>
                  </a:lnTo>
                  <a:lnTo>
                    <a:pt x="792" y="960"/>
                  </a:lnTo>
                  <a:lnTo>
                    <a:pt x="770" y="972"/>
                  </a:lnTo>
                  <a:lnTo>
                    <a:pt x="748" y="985"/>
                  </a:lnTo>
                  <a:lnTo>
                    <a:pt x="725" y="994"/>
                  </a:lnTo>
                  <a:lnTo>
                    <a:pt x="702" y="1004"/>
                  </a:lnTo>
                  <a:lnTo>
                    <a:pt x="677" y="1012"/>
                  </a:lnTo>
                  <a:lnTo>
                    <a:pt x="652" y="1019"/>
                  </a:lnTo>
                  <a:lnTo>
                    <a:pt x="627" y="1025"/>
                  </a:lnTo>
                  <a:lnTo>
                    <a:pt x="613" y="1028"/>
                  </a:lnTo>
                  <a:lnTo>
                    <a:pt x="601" y="1029"/>
                  </a:lnTo>
                  <a:lnTo>
                    <a:pt x="575" y="1033"/>
                  </a:lnTo>
                  <a:lnTo>
                    <a:pt x="549" y="1035"/>
                  </a:lnTo>
                  <a:lnTo>
                    <a:pt x="522" y="1035"/>
                  </a:lnTo>
                  <a:lnTo>
                    <a:pt x="495" y="1035"/>
                  </a:lnTo>
                  <a:lnTo>
                    <a:pt x="482" y="1034"/>
                  </a:lnTo>
                  <a:lnTo>
                    <a:pt x="468" y="1033"/>
                  </a:lnTo>
                  <a:lnTo>
                    <a:pt x="456" y="1031"/>
                  </a:lnTo>
                  <a:lnTo>
                    <a:pt x="442" y="1029"/>
                  </a:lnTo>
                  <a:lnTo>
                    <a:pt x="416" y="1025"/>
                  </a:lnTo>
                  <a:lnTo>
                    <a:pt x="391" y="1019"/>
                  </a:lnTo>
                  <a:lnTo>
                    <a:pt x="379" y="1015"/>
                  </a:lnTo>
                  <a:lnTo>
                    <a:pt x="366" y="1012"/>
                  </a:lnTo>
                  <a:lnTo>
                    <a:pt x="343" y="1004"/>
                  </a:lnTo>
                  <a:lnTo>
                    <a:pt x="330" y="999"/>
                  </a:lnTo>
                  <a:lnTo>
                    <a:pt x="319" y="994"/>
                  </a:lnTo>
                  <a:lnTo>
                    <a:pt x="295" y="985"/>
                  </a:lnTo>
                  <a:lnTo>
                    <a:pt x="273" y="972"/>
                  </a:lnTo>
                  <a:lnTo>
                    <a:pt x="251" y="960"/>
                  </a:lnTo>
                  <a:lnTo>
                    <a:pt x="230" y="946"/>
                  </a:lnTo>
                  <a:lnTo>
                    <a:pt x="210" y="933"/>
                  </a:lnTo>
                  <a:lnTo>
                    <a:pt x="200" y="925"/>
                  </a:lnTo>
                  <a:lnTo>
                    <a:pt x="190" y="917"/>
                  </a:lnTo>
                  <a:lnTo>
                    <a:pt x="171" y="901"/>
                  </a:lnTo>
                  <a:lnTo>
                    <a:pt x="153" y="884"/>
                  </a:lnTo>
                  <a:lnTo>
                    <a:pt x="135" y="866"/>
                  </a:lnTo>
                  <a:lnTo>
                    <a:pt x="119" y="847"/>
                  </a:lnTo>
                  <a:lnTo>
                    <a:pt x="104" y="827"/>
                  </a:lnTo>
                  <a:lnTo>
                    <a:pt x="89" y="807"/>
                  </a:lnTo>
                  <a:lnTo>
                    <a:pt x="76" y="786"/>
                  </a:lnTo>
                  <a:lnTo>
                    <a:pt x="63" y="764"/>
                  </a:lnTo>
                  <a:lnTo>
                    <a:pt x="52" y="742"/>
                  </a:lnTo>
                  <a:lnTo>
                    <a:pt x="41" y="720"/>
                  </a:lnTo>
                  <a:lnTo>
                    <a:pt x="32" y="696"/>
                  </a:lnTo>
                  <a:lnTo>
                    <a:pt x="24" y="672"/>
                  </a:lnTo>
                  <a:lnTo>
                    <a:pt x="16" y="647"/>
                  </a:lnTo>
                  <a:lnTo>
                    <a:pt x="11" y="622"/>
                  </a:lnTo>
                  <a:lnTo>
                    <a:pt x="9" y="609"/>
                  </a:lnTo>
                  <a:lnTo>
                    <a:pt x="6" y="597"/>
                  </a:lnTo>
                  <a:lnTo>
                    <a:pt x="2" y="571"/>
                  </a:lnTo>
                  <a:lnTo>
                    <a:pt x="1" y="545"/>
                  </a:lnTo>
                  <a:lnTo>
                    <a:pt x="0" y="518"/>
                  </a:lnTo>
                  <a:close/>
                </a:path>
              </a:pathLst>
            </a:custGeom>
            <a:solidFill>
              <a:srgbClr val="BEC4FD"/>
            </a:solidFill>
            <a:ln>
              <a:noFill/>
            </a:ln>
            <a:extLst/>
          </p:spPr>
          <p:txBody>
            <a:bodyPr/>
            <a:lstStyle/>
            <a:p>
              <a:pPr defTabSz="454748" eaLnBrk="0" hangingPunct="0">
                <a:defRPr/>
              </a:pPr>
              <a:endParaRPr lang="en-US" sz="1813" b="1" dirty="0">
                <a:ln w="12700">
                  <a:solidFill>
                    <a:srgbClr val="000000">
                      <a:satMod val="155000"/>
                    </a:srgbClr>
                  </a:solidFill>
                  <a:prstDash val="solid"/>
                </a:ln>
                <a:solidFill>
                  <a:srgbClr val="808080">
                    <a:tint val="85000"/>
                    <a:satMod val="155000"/>
                  </a:srgbClr>
                </a:solidFill>
                <a:effectLst>
                  <a:outerShdw blurRad="41275" dist="20320" dir="1800000" algn="tl" rotWithShape="0">
                    <a:srgbClr val="000000">
                      <a:alpha val="40000"/>
                    </a:srgbClr>
                  </a:outerShdw>
                </a:effectLst>
                <a:latin typeface="Arial"/>
                <a:ea typeface="MS PGothic" charset="-128"/>
                <a:cs typeface="Arial"/>
              </a:endParaRPr>
            </a:p>
          </p:txBody>
        </p:sp>
        <p:sp>
          <p:nvSpPr>
            <p:cNvPr id="61" name="Freeform 743"/>
            <p:cNvSpPr>
              <a:spLocks/>
            </p:cNvSpPr>
            <p:nvPr/>
          </p:nvSpPr>
          <p:spPr bwMode="auto">
            <a:xfrm>
              <a:off x="5162" y="3393"/>
              <a:ext cx="60" cy="167"/>
            </a:xfrm>
            <a:custGeom>
              <a:avLst/>
              <a:gdLst>
                <a:gd name="T0" fmla="*/ 1 w 243"/>
                <a:gd name="T1" fmla="*/ 309 h 665"/>
                <a:gd name="T2" fmla="*/ 5 w 243"/>
                <a:gd name="T3" fmla="*/ 262 h 665"/>
                <a:gd name="T4" fmla="*/ 13 w 243"/>
                <a:gd name="T5" fmla="*/ 218 h 665"/>
                <a:gd name="T6" fmla="*/ 18 w 243"/>
                <a:gd name="T7" fmla="*/ 196 h 665"/>
                <a:gd name="T8" fmla="*/ 25 w 243"/>
                <a:gd name="T9" fmla="*/ 173 h 665"/>
                <a:gd name="T10" fmla="*/ 36 w 243"/>
                <a:gd name="T11" fmla="*/ 143 h 665"/>
                <a:gd name="T12" fmla="*/ 49 w 243"/>
                <a:gd name="T13" fmla="*/ 112 h 665"/>
                <a:gd name="T14" fmla="*/ 71 w 243"/>
                <a:gd name="T15" fmla="*/ 72 h 665"/>
                <a:gd name="T16" fmla="*/ 94 w 243"/>
                <a:gd name="T17" fmla="*/ 35 h 665"/>
                <a:gd name="T18" fmla="*/ 122 w 243"/>
                <a:gd name="T19" fmla="*/ 0 h 665"/>
                <a:gd name="T20" fmla="*/ 143 w 243"/>
                <a:gd name="T21" fmla="*/ 27 h 665"/>
                <a:gd name="T22" fmla="*/ 161 w 243"/>
                <a:gd name="T23" fmla="*/ 54 h 665"/>
                <a:gd name="T24" fmla="*/ 184 w 243"/>
                <a:gd name="T25" fmla="*/ 92 h 665"/>
                <a:gd name="T26" fmla="*/ 202 w 243"/>
                <a:gd name="T27" fmla="*/ 132 h 665"/>
                <a:gd name="T28" fmla="*/ 218 w 243"/>
                <a:gd name="T29" fmla="*/ 173 h 665"/>
                <a:gd name="T30" fmla="*/ 231 w 243"/>
                <a:gd name="T31" fmla="*/ 218 h 665"/>
                <a:gd name="T32" fmla="*/ 238 w 243"/>
                <a:gd name="T33" fmla="*/ 262 h 665"/>
                <a:gd name="T34" fmla="*/ 243 w 243"/>
                <a:gd name="T35" fmla="*/ 309 h 665"/>
                <a:gd name="T36" fmla="*/ 243 w 243"/>
                <a:gd name="T37" fmla="*/ 356 h 665"/>
                <a:gd name="T38" fmla="*/ 238 w 243"/>
                <a:gd name="T39" fmla="*/ 402 h 665"/>
                <a:gd name="T40" fmla="*/ 231 w 243"/>
                <a:gd name="T41" fmla="*/ 447 h 665"/>
                <a:gd name="T42" fmla="*/ 225 w 243"/>
                <a:gd name="T43" fmla="*/ 469 h 665"/>
                <a:gd name="T44" fmla="*/ 218 w 243"/>
                <a:gd name="T45" fmla="*/ 491 h 665"/>
                <a:gd name="T46" fmla="*/ 207 w 243"/>
                <a:gd name="T47" fmla="*/ 523 h 665"/>
                <a:gd name="T48" fmla="*/ 194 w 243"/>
                <a:gd name="T49" fmla="*/ 553 h 665"/>
                <a:gd name="T50" fmla="*/ 172 w 243"/>
                <a:gd name="T51" fmla="*/ 592 h 665"/>
                <a:gd name="T52" fmla="*/ 149 w 243"/>
                <a:gd name="T53" fmla="*/ 629 h 665"/>
                <a:gd name="T54" fmla="*/ 122 w 243"/>
                <a:gd name="T55" fmla="*/ 665 h 665"/>
                <a:gd name="T56" fmla="*/ 102 w 243"/>
                <a:gd name="T57" fmla="*/ 639 h 665"/>
                <a:gd name="T58" fmla="*/ 82 w 243"/>
                <a:gd name="T59" fmla="*/ 612 h 665"/>
                <a:gd name="T60" fmla="*/ 59 w 243"/>
                <a:gd name="T61" fmla="*/ 574 h 665"/>
                <a:gd name="T62" fmla="*/ 41 w 243"/>
                <a:gd name="T63" fmla="*/ 533 h 665"/>
                <a:gd name="T64" fmla="*/ 25 w 243"/>
                <a:gd name="T65" fmla="*/ 491 h 665"/>
                <a:gd name="T66" fmla="*/ 13 w 243"/>
                <a:gd name="T67" fmla="*/ 447 h 665"/>
                <a:gd name="T68" fmla="*/ 5 w 243"/>
                <a:gd name="T69" fmla="*/ 402 h 665"/>
                <a:gd name="T70" fmla="*/ 1 w 243"/>
                <a:gd name="T71" fmla="*/ 356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3" h="665">
                  <a:moveTo>
                    <a:pt x="0" y="332"/>
                  </a:moveTo>
                  <a:lnTo>
                    <a:pt x="1" y="309"/>
                  </a:lnTo>
                  <a:lnTo>
                    <a:pt x="2" y="285"/>
                  </a:lnTo>
                  <a:lnTo>
                    <a:pt x="5" y="262"/>
                  </a:lnTo>
                  <a:lnTo>
                    <a:pt x="9" y="240"/>
                  </a:lnTo>
                  <a:lnTo>
                    <a:pt x="13" y="218"/>
                  </a:lnTo>
                  <a:lnTo>
                    <a:pt x="16" y="207"/>
                  </a:lnTo>
                  <a:lnTo>
                    <a:pt x="18" y="196"/>
                  </a:lnTo>
                  <a:lnTo>
                    <a:pt x="22" y="184"/>
                  </a:lnTo>
                  <a:lnTo>
                    <a:pt x="25" y="173"/>
                  </a:lnTo>
                  <a:lnTo>
                    <a:pt x="32" y="152"/>
                  </a:lnTo>
                  <a:lnTo>
                    <a:pt x="36" y="143"/>
                  </a:lnTo>
                  <a:lnTo>
                    <a:pt x="41" y="132"/>
                  </a:lnTo>
                  <a:lnTo>
                    <a:pt x="49" y="112"/>
                  </a:lnTo>
                  <a:lnTo>
                    <a:pt x="59" y="92"/>
                  </a:lnTo>
                  <a:lnTo>
                    <a:pt x="71" y="72"/>
                  </a:lnTo>
                  <a:lnTo>
                    <a:pt x="82" y="54"/>
                  </a:lnTo>
                  <a:lnTo>
                    <a:pt x="94" y="35"/>
                  </a:lnTo>
                  <a:lnTo>
                    <a:pt x="108" y="17"/>
                  </a:lnTo>
                  <a:lnTo>
                    <a:pt x="122" y="0"/>
                  </a:lnTo>
                  <a:lnTo>
                    <a:pt x="135" y="17"/>
                  </a:lnTo>
                  <a:lnTo>
                    <a:pt x="143" y="27"/>
                  </a:lnTo>
                  <a:lnTo>
                    <a:pt x="149" y="35"/>
                  </a:lnTo>
                  <a:lnTo>
                    <a:pt x="161" y="54"/>
                  </a:lnTo>
                  <a:lnTo>
                    <a:pt x="172" y="72"/>
                  </a:lnTo>
                  <a:lnTo>
                    <a:pt x="184" y="92"/>
                  </a:lnTo>
                  <a:lnTo>
                    <a:pt x="194" y="112"/>
                  </a:lnTo>
                  <a:lnTo>
                    <a:pt x="202" y="132"/>
                  </a:lnTo>
                  <a:lnTo>
                    <a:pt x="211" y="152"/>
                  </a:lnTo>
                  <a:lnTo>
                    <a:pt x="218" y="173"/>
                  </a:lnTo>
                  <a:lnTo>
                    <a:pt x="225" y="196"/>
                  </a:lnTo>
                  <a:lnTo>
                    <a:pt x="231" y="218"/>
                  </a:lnTo>
                  <a:lnTo>
                    <a:pt x="235" y="240"/>
                  </a:lnTo>
                  <a:lnTo>
                    <a:pt x="238" y="262"/>
                  </a:lnTo>
                  <a:lnTo>
                    <a:pt x="241" y="285"/>
                  </a:lnTo>
                  <a:lnTo>
                    <a:pt x="243" y="309"/>
                  </a:lnTo>
                  <a:lnTo>
                    <a:pt x="243" y="332"/>
                  </a:lnTo>
                  <a:lnTo>
                    <a:pt x="243" y="356"/>
                  </a:lnTo>
                  <a:lnTo>
                    <a:pt x="241" y="379"/>
                  </a:lnTo>
                  <a:lnTo>
                    <a:pt x="238" y="402"/>
                  </a:lnTo>
                  <a:lnTo>
                    <a:pt x="235" y="425"/>
                  </a:lnTo>
                  <a:lnTo>
                    <a:pt x="231" y="447"/>
                  </a:lnTo>
                  <a:lnTo>
                    <a:pt x="228" y="458"/>
                  </a:lnTo>
                  <a:lnTo>
                    <a:pt x="225" y="469"/>
                  </a:lnTo>
                  <a:lnTo>
                    <a:pt x="222" y="480"/>
                  </a:lnTo>
                  <a:lnTo>
                    <a:pt x="218" y="491"/>
                  </a:lnTo>
                  <a:lnTo>
                    <a:pt x="211" y="512"/>
                  </a:lnTo>
                  <a:lnTo>
                    <a:pt x="207" y="523"/>
                  </a:lnTo>
                  <a:lnTo>
                    <a:pt x="202" y="533"/>
                  </a:lnTo>
                  <a:lnTo>
                    <a:pt x="194" y="553"/>
                  </a:lnTo>
                  <a:lnTo>
                    <a:pt x="184" y="574"/>
                  </a:lnTo>
                  <a:lnTo>
                    <a:pt x="172" y="592"/>
                  </a:lnTo>
                  <a:lnTo>
                    <a:pt x="161" y="612"/>
                  </a:lnTo>
                  <a:lnTo>
                    <a:pt x="149" y="629"/>
                  </a:lnTo>
                  <a:lnTo>
                    <a:pt x="135" y="648"/>
                  </a:lnTo>
                  <a:lnTo>
                    <a:pt x="122" y="665"/>
                  </a:lnTo>
                  <a:lnTo>
                    <a:pt x="108" y="648"/>
                  </a:lnTo>
                  <a:lnTo>
                    <a:pt x="102" y="639"/>
                  </a:lnTo>
                  <a:lnTo>
                    <a:pt x="94" y="629"/>
                  </a:lnTo>
                  <a:lnTo>
                    <a:pt x="82" y="612"/>
                  </a:lnTo>
                  <a:lnTo>
                    <a:pt x="71" y="592"/>
                  </a:lnTo>
                  <a:lnTo>
                    <a:pt x="59" y="574"/>
                  </a:lnTo>
                  <a:lnTo>
                    <a:pt x="49" y="553"/>
                  </a:lnTo>
                  <a:lnTo>
                    <a:pt x="41" y="533"/>
                  </a:lnTo>
                  <a:lnTo>
                    <a:pt x="32" y="512"/>
                  </a:lnTo>
                  <a:lnTo>
                    <a:pt x="25" y="491"/>
                  </a:lnTo>
                  <a:lnTo>
                    <a:pt x="18" y="469"/>
                  </a:lnTo>
                  <a:lnTo>
                    <a:pt x="13" y="447"/>
                  </a:lnTo>
                  <a:lnTo>
                    <a:pt x="9" y="425"/>
                  </a:lnTo>
                  <a:lnTo>
                    <a:pt x="5" y="402"/>
                  </a:lnTo>
                  <a:lnTo>
                    <a:pt x="2" y="379"/>
                  </a:lnTo>
                  <a:lnTo>
                    <a:pt x="1" y="356"/>
                  </a:lnTo>
                  <a:lnTo>
                    <a:pt x="0" y="332"/>
                  </a:lnTo>
                  <a:close/>
                </a:path>
              </a:pathLst>
            </a:custGeom>
            <a:solidFill>
              <a:srgbClr val="C00000"/>
            </a:solidFill>
            <a:ln>
              <a:noFill/>
            </a:ln>
            <a:extLst/>
          </p:spPr>
          <p:txBody>
            <a:bodyPr/>
            <a:lstStyle/>
            <a:p>
              <a:pPr defTabSz="454748" eaLnBrk="0" hangingPunct="0">
                <a:defRPr/>
              </a:pPr>
              <a:endParaRPr lang="en-US" sz="1813" dirty="0">
                <a:solidFill>
                  <a:srgbClr val="004266"/>
                </a:solidFill>
                <a:latin typeface="Arial"/>
                <a:ea typeface="MS PGothic" charset="-128"/>
                <a:cs typeface="Arial"/>
              </a:endParaRPr>
            </a:p>
          </p:txBody>
        </p:sp>
        <p:sp>
          <p:nvSpPr>
            <p:cNvPr id="67" name="Freeform 744"/>
            <p:cNvSpPr>
              <a:spLocks/>
            </p:cNvSpPr>
            <p:nvPr/>
          </p:nvSpPr>
          <p:spPr bwMode="auto">
            <a:xfrm>
              <a:off x="5172" y="3525"/>
              <a:ext cx="142" cy="83"/>
            </a:xfrm>
            <a:custGeom>
              <a:avLst/>
              <a:gdLst>
                <a:gd name="T0" fmla="*/ 19 w 563"/>
                <a:gd name="T1" fmla="*/ 4 h 326"/>
                <a:gd name="T2" fmla="*/ 60 w 563"/>
                <a:gd name="T3" fmla="*/ 0 h 326"/>
                <a:gd name="T4" fmla="*/ 101 w 563"/>
                <a:gd name="T5" fmla="*/ 0 h 326"/>
                <a:gd name="T6" fmla="*/ 142 w 563"/>
                <a:gd name="T7" fmla="*/ 4 h 326"/>
                <a:gd name="T8" fmla="*/ 181 w 563"/>
                <a:gd name="T9" fmla="*/ 10 h 326"/>
                <a:gd name="T10" fmla="*/ 219 w 563"/>
                <a:gd name="T11" fmla="*/ 19 h 326"/>
                <a:gd name="T12" fmla="*/ 255 w 563"/>
                <a:gd name="T13" fmla="*/ 30 h 326"/>
                <a:gd name="T14" fmla="*/ 291 w 563"/>
                <a:gd name="T15" fmla="*/ 44 h 326"/>
                <a:gd name="T16" fmla="*/ 326 w 563"/>
                <a:gd name="T17" fmla="*/ 61 h 326"/>
                <a:gd name="T18" fmla="*/ 358 w 563"/>
                <a:gd name="T19" fmla="*/ 79 h 326"/>
                <a:gd name="T20" fmla="*/ 390 w 563"/>
                <a:gd name="T21" fmla="*/ 100 h 326"/>
                <a:gd name="T22" fmla="*/ 406 w 563"/>
                <a:gd name="T23" fmla="*/ 113 h 326"/>
                <a:gd name="T24" fmla="*/ 419 w 563"/>
                <a:gd name="T25" fmla="*/ 124 h 326"/>
                <a:gd name="T26" fmla="*/ 448 w 563"/>
                <a:gd name="T27" fmla="*/ 149 h 326"/>
                <a:gd name="T28" fmla="*/ 474 w 563"/>
                <a:gd name="T29" fmla="*/ 177 h 326"/>
                <a:gd name="T30" fmla="*/ 498 w 563"/>
                <a:gd name="T31" fmla="*/ 205 h 326"/>
                <a:gd name="T32" fmla="*/ 519 w 563"/>
                <a:gd name="T33" fmla="*/ 236 h 326"/>
                <a:gd name="T34" fmla="*/ 539 w 563"/>
                <a:gd name="T35" fmla="*/ 268 h 326"/>
                <a:gd name="T36" fmla="*/ 556 w 563"/>
                <a:gd name="T37" fmla="*/ 302 h 326"/>
                <a:gd name="T38" fmla="*/ 544 w 563"/>
                <a:gd name="T39" fmla="*/ 322 h 326"/>
                <a:gd name="T40" fmla="*/ 503 w 563"/>
                <a:gd name="T41" fmla="*/ 326 h 326"/>
                <a:gd name="T42" fmla="*/ 462 w 563"/>
                <a:gd name="T43" fmla="*/ 326 h 326"/>
                <a:gd name="T44" fmla="*/ 422 w 563"/>
                <a:gd name="T45" fmla="*/ 322 h 326"/>
                <a:gd name="T46" fmla="*/ 382 w 563"/>
                <a:gd name="T47" fmla="*/ 317 h 326"/>
                <a:gd name="T48" fmla="*/ 345 w 563"/>
                <a:gd name="T49" fmla="*/ 307 h 326"/>
                <a:gd name="T50" fmla="*/ 308 w 563"/>
                <a:gd name="T51" fmla="*/ 296 h 326"/>
                <a:gd name="T52" fmla="*/ 272 w 563"/>
                <a:gd name="T53" fmla="*/ 282 h 326"/>
                <a:gd name="T54" fmla="*/ 238 w 563"/>
                <a:gd name="T55" fmla="*/ 265 h 326"/>
                <a:gd name="T56" fmla="*/ 204 w 563"/>
                <a:gd name="T57" fmla="*/ 247 h 326"/>
                <a:gd name="T58" fmla="*/ 173 w 563"/>
                <a:gd name="T59" fmla="*/ 226 h 326"/>
                <a:gd name="T60" fmla="*/ 159 w 563"/>
                <a:gd name="T61" fmla="*/ 215 h 326"/>
                <a:gd name="T62" fmla="*/ 144 w 563"/>
                <a:gd name="T63" fmla="*/ 202 h 326"/>
                <a:gd name="T64" fmla="*/ 116 w 563"/>
                <a:gd name="T65" fmla="*/ 178 h 326"/>
                <a:gd name="T66" fmla="*/ 90 w 563"/>
                <a:gd name="T67" fmla="*/ 149 h 326"/>
                <a:gd name="T68" fmla="*/ 65 w 563"/>
                <a:gd name="T69" fmla="*/ 121 h 326"/>
                <a:gd name="T70" fmla="*/ 44 w 563"/>
                <a:gd name="T71" fmla="*/ 90 h 326"/>
                <a:gd name="T72" fmla="*/ 24 w 563"/>
                <a:gd name="T73" fmla="*/ 58 h 326"/>
                <a:gd name="T74" fmla="*/ 7 w 563"/>
                <a:gd name="T75" fmla="*/ 24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3" h="326">
                  <a:moveTo>
                    <a:pt x="0" y="7"/>
                  </a:moveTo>
                  <a:lnTo>
                    <a:pt x="19" y="4"/>
                  </a:lnTo>
                  <a:lnTo>
                    <a:pt x="41" y="2"/>
                  </a:lnTo>
                  <a:lnTo>
                    <a:pt x="60" y="0"/>
                  </a:lnTo>
                  <a:lnTo>
                    <a:pt x="82" y="0"/>
                  </a:lnTo>
                  <a:lnTo>
                    <a:pt x="101" y="0"/>
                  </a:lnTo>
                  <a:lnTo>
                    <a:pt x="123" y="2"/>
                  </a:lnTo>
                  <a:lnTo>
                    <a:pt x="142" y="4"/>
                  </a:lnTo>
                  <a:lnTo>
                    <a:pt x="161" y="7"/>
                  </a:lnTo>
                  <a:lnTo>
                    <a:pt x="181" y="10"/>
                  </a:lnTo>
                  <a:lnTo>
                    <a:pt x="200" y="14"/>
                  </a:lnTo>
                  <a:lnTo>
                    <a:pt x="219" y="19"/>
                  </a:lnTo>
                  <a:lnTo>
                    <a:pt x="238" y="24"/>
                  </a:lnTo>
                  <a:lnTo>
                    <a:pt x="255" y="30"/>
                  </a:lnTo>
                  <a:lnTo>
                    <a:pt x="274" y="37"/>
                  </a:lnTo>
                  <a:lnTo>
                    <a:pt x="291" y="44"/>
                  </a:lnTo>
                  <a:lnTo>
                    <a:pt x="309" y="52"/>
                  </a:lnTo>
                  <a:lnTo>
                    <a:pt x="326" y="61"/>
                  </a:lnTo>
                  <a:lnTo>
                    <a:pt x="342" y="69"/>
                  </a:lnTo>
                  <a:lnTo>
                    <a:pt x="358" y="79"/>
                  </a:lnTo>
                  <a:lnTo>
                    <a:pt x="375" y="90"/>
                  </a:lnTo>
                  <a:lnTo>
                    <a:pt x="390" y="100"/>
                  </a:lnTo>
                  <a:lnTo>
                    <a:pt x="398" y="106"/>
                  </a:lnTo>
                  <a:lnTo>
                    <a:pt x="406" y="113"/>
                  </a:lnTo>
                  <a:lnTo>
                    <a:pt x="412" y="117"/>
                  </a:lnTo>
                  <a:lnTo>
                    <a:pt x="419" y="124"/>
                  </a:lnTo>
                  <a:lnTo>
                    <a:pt x="434" y="136"/>
                  </a:lnTo>
                  <a:lnTo>
                    <a:pt x="448" y="149"/>
                  </a:lnTo>
                  <a:lnTo>
                    <a:pt x="460" y="163"/>
                  </a:lnTo>
                  <a:lnTo>
                    <a:pt x="474" y="177"/>
                  </a:lnTo>
                  <a:lnTo>
                    <a:pt x="485" y="190"/>
                  </a:lnTo>
                  <a:lnTo>
                    <a:pt x="498" y="205"/>
                  </a:lnTo>
                  <a:lnTo>
                    <a:pt x="509" y="221"/>
                  </a:lnTo>
                  <a:lnTo>
                    <a:pt x="519" y="236"/>
                  </a:lnTo>
                  <a:lnTo>
                    <a:pt x="529" y="252"/>
                  </a:lnTo>
                  <a:lnTo>
                    <a:pt x="539" y="268"/>
                  </a:lnTo>
                  <a:lnTo>
                    <a:pt x="547" y="285"/>
                  </a:lnTo>
                  <a:lnTo>
                    <a:pt x="556" y="302"/>
                  </a:lnTo>
                  <a:lnTo>
                    <a:pt x="563" y="319"/>
                  </a:lnTo>
                  <a:lnTo>
                    <a:pt x="544" y="322"/>
                  </a:lnTo>
                  <a:lnTo>
                    <a:pt x="522" y="324"/>
                  </a:lnTo>
                  <a:lnTo>
                    <a:pt x="503" y="326"/>
                  </a:lnTo>
                  <a:lnTo>
                    <a:pt x="481" y="326"/>
                  </a:lnTo>
                  <a:lnTo>
                    <a:pt x="462" y="326"/>
                  </a:lnTo>
                  <a:lnTo>
                    <a:pt x="442" y="324"/>
                  </a:lnTo>
                  <a:lnTo>
                    <a:pt x="422" y="322"/>
                  </a:lnTo>
                  <a:lnTo>
                    <a:pt x="402" y="319"/>
                  </a:lnTo>
                  <a:lnTo>
                    <a:pt x="382" y="317"/>
                  </a:lnTo>
                  <a:lnTo>
                    <a:pt x="363" y="312"/>
                  </a:lnTo>
                  <a:lnTo>
                    <a:pt x="345" y="307"/>
                  </a:lnTo>
                  <a:lnTo>
                    <a:pt x="326" y="302"/>
                  </a:lnTo>
                  <a:lnTo>
                    <a:pt x="308" y="296"/>
                  </a:lnTo>
                  <a:lnTo>
                    <a:pt x="289" y="290"/>
                  </a:lnTo>
                  <a:lnTo>
                    <a:pt x="272" y="282"/>
                  </a:lnTo>
                  <a:lnTo>
                    <a:pt x="254" y="274"/>
                  </a:lnTo>
                  <a:lnTo>
                    <a:pt x="238" y="265"/>
                  </a:lnTo>
                  <a:lnTo>
                    <a:pt x="221" y="257"/>
                  </a:lnTo>
                  <a:lnTo>
                    <a:pt x="204" y="247"/>
                  </a:lnTo>
                  <a:lnTo>
                    <a:pt x="188" y="237"/>
                  </a:lnTo>
                  <a:lnTo>
                    <a:pt x="173" y="226"/>
                  </a:lnTo>
                  <a:lnTo>
                    <a:pt x="166" y="220"/>
                  </a:lnTo>
                  <a:lnTo>
                    <a:pt x="159" y="215"/>
                  </a:lnTo>
                  <a:lnTo>
                    <a:pt x="151" y="209"/>
                  </a:lnTo>
                  <a:lnTo>
                    <a:pt x="144" y="202"/>
                  </a:lnTo>
                  <a:lnTo>
                    <a:pt x="130" y="190"/>
                  </a:lnTo>
                  <a:lnTo>
                    <a:pt x="116" y="178"/>
                  </a:lnTo>
                  <a:lnTo>
                    <a:pt x="103" y="164"/>
                  </a:lnTo>
                  <a:lnTo>
                    <a:pt x="90" y="149"/>
                  </a:lnTo>
                  <a:lnTo>
                    <a:pt x="78" y="136"/>
                  </a:lnTo>
                  <a:lnTo>
                    <a:pt x="65" y="121"/>
                  </a:lnTo>
                  <a:lnTo>
                    <a:pt x="54" y="106"/>
                  </a:lnTo>
                  <a:lnTo>
                    <a:pt x="44" y="90"/>
                  </a:lnTo>
                  <a:lnTo>
                    <a:pt x="34" y="74"/>
                  </a:lnTo>
                  <a:lnTo>
                    <a:pt x="24" y="58"/>
                  </a:lnTo>
                  <a:lnTo>
                    <a:pt x="16" y="41"/>
                  </a:lnTo>
                  <a:lnTo>
                    <a:pt x="7" y="24"/>
                  </a:lnTo>
                  <a:lnTo>
                    <a:pt x="0" y="7"/>
                  </a:lnTo>
                  <a:close/>
                </a:path>
              </a:pathLst>
            </a:custGeom>
            <a:solidFill>
              <a:schemeClr val="tx2">
                <a:lumMod val="50000"/>
              </a:schemeClr>
            </a:solidFill>
            <a:ln>
              <a:noFill/>
            </a:ln>
            <a:extLst/>
          </p:spPr>
          <p:txBody>
            <a:bodyPr/>
            <a:lstStyle/>
            <a:p>
              <a:pPr defTabSz="454748" eaLnBrk="0" hangingPunct="0">
                <a:defRPr/>
              </a:pPr>
              <a:endParaRPr lang="en-US" sz="1813" dirty="0">
                <a:solidFill>
                  <a:srgbClr val="004266"/>
                </a:solidFill>
                <a:latin typeface="Arial"/>
                <a:ea typeface="MS PGothic" charset="-128"/>
                <a:cs typeface="Arial"/>
              </a:endParaRPr>
            </a:p>
          </p:txBody>
        </p:sp>
        <p:sp>
          <p:nvSpPr>
            <p:cNvPr id="68" name="Freeform 745"/>
            <p:cNvSpPr>
              <a:spLocks/>
            </p:cNvSpPr>
            <p:nvPr/>
          </p:nvSpPr>
          <p:spPr bwMode="auto">
            <a:xfrm>
              <a:off x="5072" y="3525"/>
              <a:ext cx="143" cy="83"/>
            </a:xfrm>
            <a:custGeom>
              <a:avLst/>
              <a:gdLst>
                <a:gd name="T0" fmla="*/ 7 w 563"/>
                <a:gd name="T1" fmla="*/ 302 h 326"/>
                <a:gd name="T2" fmla="*/ 24 w 563"/>
                <a:gd name="T3" fmla="*/ 268 h 326"/>
                <a:gd name="T4" fmla="*/ 44 w 563"/>
                <a:gd name="T5" fmla="*/ 236 h 326"/>
                <a:gd name="T6" fmla="*/ 65 w 563"/>
                <a:gd name="T7" fmla="*/ 205 h 326"/>
                <a:gd name="T8" fmla="*/ 90 w 563"/>
                <a:gd name="T9" fmla="*/ 177 h 326"/>
                <a:gd name="T10" fmla="*/ 116 w 563"/>
                <a:gd name="T11" fmla="*/ 149 h 326"/>
                <a:gd name="T12" fmla="*/ 144 w 563"/>
                <a:gd name="T13" fmla="*/ 124 h 326"/>
                <a:gd name="T14" fmla="*/ 174 w 563"/>
                <a:gd name="T15" fmla="*/ 100 h 326"/>
                <a:gd name="T16" fmla="*/ 205 w 563"/>
                <a:gd name="T17" fmla="*/ 79 h 326"/>
                <a:gd name="T18" fmla="*/ 238 w 563"/>
                <a:gd name="T19" fmla="*/ 61 h 326"/>
                <a:gd name="T20" fmla="*/ 272 w 563"/>
                <a:gd name="T21" fmla="*/ 44 h 326"/>
                <a:gd name="T22" fmla="*/ 308 w 563"/>
                <a:gd name="T23" fmla="*/ 30 h 326"/>
                <a:gd name="T24" fmla="*/ 345 w 563"/>
                <a:gd name="T25" fmla="*/ 19 h 326"/>
                <a:gd name="T26" fmla="*/ 364 w 563"/>
                <a:gd name="T27" fmla="*/ 14 h 326"/>
                <a:gd name="T28" fmla="*/ 402 w 563"/>
                <a:gd name="T29" fmla="*/ 7 h 326"/>
                <a:gd name="T30" fmla="*/ 442 w 563"/>
                <a:gd name="T31" fmla="*/ 2 h 326"/>
                <a:gd name="T32" fmla="*/ 482 w 563"/>
                <a:gd name="T33" fmla="*/ 0 h 326"/>
                <a:gd name="T34" fmla="*/ 523 w 563"/>
                <a:gd name="T35" fmla="*/ 2 h 326"/>
                <a:gd name="T36" fmla="*/ 563 w 563"/>
                <a:gd name="T37" fmla="*/ 7 h 326"/>
                <a:gd name="T38" fmla="*/ 547 w 563"/>
                <a:gd name="T39" fmla="*/ 41 h 326"/>
                <a:gd name="T40" fmla="*/ 529 w 563"/>
                <a:gd name="T41" fmla="*/ 74 h 326"/>
                <a:gd name="T42" fmla="*/ 509 w 563"/>
                <a:gd name="T43" fmla="*/ 106 h 326"/>
                <a:gd name="T44" fmla="*/ 485 w 563"/>
                <a:gd name="T45" fmla="*/ 136 h 326"/>
                <a:gd name="T46" fmla="*/ 460 w 563"/>
                <a:gd name="T47" fmla="*/ 164 h 326"/>
                <a:gd name="T48" fmla="*/ 434 w 563"/>
                <a:gd name="T49" fmla="*/ 190 h 326"/>
                <a:gd name="T50" fmla="*/ 406 w 563"/>
                <a:gd name="T51" fmla="*/ 215 h 326"/>
                <a:gd name="T52" fmla="*/ 375 w 563"/>
                <a:gd name="T53" fmla="*/ 237 h 326"/>
                <a:gd name="T54" fmla="*/ 342 w 563"/>
                <a:gd name="T55" fmla="*/ 257 h 326"/>
                <a:gd name="T56" fmla="*/ 309 w 563"/>
                <a:gd name="T57" fmla="*/ 274 h 326"/>
                <a:gd name="T58" fmla="*/ 274 w 563"/>
                <a:gd name="T59" fmla="*/ 290 h 326"/>
                <a:gd name="T60" fmla="*/ 238 w 563"/>
                <a:gd name="T61" fmla="*/ 302 h 326"/>
                <a:gd name="T62" fmla="*/ 210 w 563"/>
                <a:gd name="T63" fmla="*/ 310 h 326"/>
                <a:gd name="T64" fmla="*/ 181 w 563"/>
                <a:gd name="T65" fmla="*/ 317 h 326"/>
                <a:gd name="T66" fmla="*/ 142 w 563"/>
                <a:gd name="T67" fmla="*/ 322 h 326"/>
                <a:gd name="T68" fmla="*/ 101 w 563"/>
                <a:gd name="T69" fmla="*/ 326 h 326"/>
                <a:gd name="T70" fmla="*/ 61 w 563"/>
                <a:gd name="T71" fmla="*/ 326 h 326"/>
                <a:gd name="T72" fmla="*/ 20 w 563"/>
                <a:gd name="T73" fmla="*/ 322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3" h="326">
                  <a:moveTo>
                    <a:pt x="0" y="319"/>
                  </a:moveTo>
                  <a:lnTo>
                    <a:pt x="7" y="302"/>
                  </a:lnTo>
                  <a:lnTo>
                    <a:pt x="16" y="285"/>
                  </a:lnTo>
                  <a:lnTo>
                    <a:pt x="24" y="268"/>
                  </a:lnTo>
                  <a:lnTo>
                    <a:pt x="34" y="252"/>
                  </a:lnTo>
                  <a:lnTo>
                    <a:pt x="44" y="236"/>
                  </a:lnTo>
                  <a:lnTo>
                    <a:pt x="54" y="221"/>
                  </a:lnTo>
                  <a:lnTo>
                    <a:pt x="65" y="205"/>
                  </a:lnTo>
                  <a:lnTo>
                    <a:pt x="78" y="190"/>
                  </a:lnTo>
                  <a:lnTo>
                    <a:pt x="90" y="177"/>
                  </a:lnTo>
                  <a:lnTo>
                    <a:pt x="103" y="163"/>
                  </a:lnTo>
                  <a:lnTo>
                    <a:pt x="116" y="149"/>
                  </a:lnTo>
                  <a:lnTo>
                    <a:pt x="130" y="136"/>
                  </a:lnTo>
                  <a:lnTo>
                    <a:pt x="144" y="124"/>
                  </a:lnTo>
                  <a:lnTo>
                    <a:pt x="159" y="113"/>
                  </a:lnTo>
                  <a:lnTo>
                    <a:pt x="174" y="100"/>
                  </a:lnTo>
                  <a:lnTo>
                    <a:pt x="188" y="90"/>
                  </a:lnTo>
                  <a:lnTo>
                    <a:pt x="205" y="79"/>
                  </a:lnTo>
                  <a:lnTo>
                    <a:pt x="221" y="69"/>
                  </a:lnTo>
                  <a:lnTo>
                    <a:pt x="238" y="61"/>
                  </a:lnTo>
                  <a:lnTo>
                    <a:pt x="254" y="52"/>
                  </a:lnTo>
                  <a:lnTo>
                    <a:pt x="272" y="44"/>
                  </a:lnTo>
                  <a:lnTo>
                    <a:pt x="289" y="37"/>
                  </a:lnTo>
                  <a:lnTo>
                    <a:pt x="308" y="30"/>
                  </a:lnTo>
                  <a:lnTo>
                    <a:pt x="326" y="24"/>
                  </a:lnTo>
                  <a:lnTo>
                    <a:pt x="345" y="19"/>
                  </a:lnTo>
                  <a:lnTo>
                    <a:pt x="354" y="16"/>
                  </a:lnTo>
                  <a:lnTo>
                    <a:pt x="364" y="14"/>
                  </a:lnTo>
                  <a:lnTo>
                    <a:pt x="382" y="10"/>
                  </a:lnTo>
                  <a:lnTo>
                    <a:pt x="402" y="7"/>
                  </a:lnTo>
                  <a:lnTo>
                    <a:pt x="422" y="4"/>
                  </a:lnTo>
                  <a:lnTo>
                    <a:pt x="442" y="2"/>
                  </a:lnTo>
                  <a:lnTo>
                    <a:pt x="462" y="0"/>
                  </a:lnTo>
                  <a:lnTo>
                    <a:pt x="482" y="0"/>
                  </a:lnTo>
                  <a:lnTo>
                    <a:pt x="503" y="0"/>
                  </a:lnTo>
                  <a:lnTo>
                    <a:pt x="523" y="2"/>
                  </a:lnTo>
                  <a:lnTo>
                    <a:pt x="544" y="4"/>
                  </a:lnTo>
                  <a:lnTo>
                    <a:pt x="563" y="7"/>
                  </a:lnTo>
                  <a:lnTo>
                    <a:pt x="556" y="24"/>
                  </a:lnTo>
                  <a:lnTo>
                    <a:pt x="547" y="41"/>
                  </a:lnTo>
                  <a:lnTo>
                    <a:pt x="539" y="58"/>
                  </a:lnTo>
                  <a:lnTo>
                    <a:pt x="529" y="74"/>
                  </a:lnTo>
                  <a:lnTo>
                    <a:pt x="519" y="90"/>
                  </a:lnTo>
                  <a:lnTo>
                    <a:pt x="509" y="106"/>
                  </a:lnTo>
                  <a:lnTo>
                    <a:pt x="498" y="121"/>
                  </a:lnTo>
                  <a:lnTo>
                    <a:pt x="485" y="136"/>
                  </a:lnTo>
                  <a:lnTo>
                    <a:pt x="474" y="149"/>
                  </a:lnTo>
                  <a:lnTo>
                    <a:pt x="460" y="164"/>
                  </a:lnTo>
                  <a:lnTo>
                    <a:pt x="448" y="178"/>
                  </a:lnTo>
                  <a:lnTo>
                    <a:pt x="434" y="190"/>
                  </a:lnTo>
                  <a:lnTo>
                    <a:pt x="419" y="202"/>
                  </a:lnTo>
                  <a:lnTo>
                    <a:pt x="406" y="215"/>
                  </a:lnTo>
                  <a:lnTo>
                    <a:pt x="390" y="226"/>
                  </a:lnTo>
                  <a:lnTo>
                    <a:pt x="375" y="237"/>
                  </a:lnTo>
                  <a:lnTo>
                    <a:pt x="359" y="247"/>
                  </a:lnTo>
                  <a:lnTo>
                    <a:pt x="342" y="257"/>
                  </a:lnTo>
                  <a:lnTo>
                    <a:pt x="326" y="265"/>
                  </a:lnTo>
                  <a:lnTo>
                    <a:pt x="309" y="274"/>
                  </a:lnTo>
                  <a:lnTo>
                    <a:pt x="292" y="282"/>
                  </a:lnTo>
                  <a:lnTo>
                    <a:pt x="274" y="290"/>
                  </a:lnTo>
                  <a:lnTo>
                    <a:pt x="255" y="296"/>
                  </a:lnTo>
                  <a:lnTo>
                    <a:pt x="238" y="302"/>
                  </a:lnTo>
                  <a:lnTo>
                    <a:pt x="219" y="307"/>
                  </a:lnTo>
                  <a:lnTo>
                    <a:pt x="210" y="310"/>
                  </a:lnTo>
                  <a:lnTo>
                    <a:pt x="200" y="312"/>
                  </a:lnTo>
                  <a:lnTo>
                    <a:pt x="181" y="317"/>
                  </a:lnTo>
                  <a:lnTo>
                    <a:pt x="161" y="319"/>
                  </a:lnTo>
                  <a:lnTo>
                    <a:pt x="142" y="322"/>
                  </a:lnTo>
                  <a:lnTo>
                    <a:pt x="123" y="324"/>
                  </a:lnTo>
                  <a:lnTo>
                    <a:pt x="101" y="326"/>
                  </a:lnTo>
                  <a:lnTo>
                    <a:pt x="82" y="326"/>
                  </a:lnTo>
                  <a:lnTo>
                    <a:pt x="61" y="326"/>
                  </a:lnTo>
                  <a:lnTo>
                    <a:pt x="41" y="324"/>
                  </a:lnTo>
                  <a:lnTo>
                    <a:pt x="20" y="322"/>
                  </a:lnTo>
                  <a:lnTo>
                    <a:pt x="0" y="319"/>
                  </a:lnTo>
                  <a:close/>
                </a:path>
              </a:pathLst>
            </a:custGeom>
            <a:solidFill>
              <a:schemeClr val="accent6">
                <a:lumMod val="75000"/>
                <a:lumOff val="25000"/>
              </a:schemeClr>
            </a:solidFill>
            <a:ln>
              <a:noFill/>
            </a:ln>
            <a:extLst/>
          </p:spPr>
          <p:txBody>
            <a:bodyPr/>
            <a:lstStyle/>
            <a:p>
              <a:pPr defTabSz="454748" eaLnBrk="0" hangingPunct="0">
                <a:defRPr/>
              </a:pPr>
              <a:endParaRPr lang="en-US" sz="1813" dirty="0">
                <a:solidFill>
                  <a:srgbClr val="004266"/>
                </a:solidFill>
                <a:latin typeface="Arial"/>
                <a:ea typeface="MS PGothic" charset="-128"/>
                <a:cs typeface="Arial"/>
              </a:endParaRPr>
            </a:p>
          </p:txBody>
        </p:sp>
        <p:sp>
          <p:nvSpPr>
            <p:cNvPr id="69" name="Freeform 746"/>
            <p:cNvSpPr>
              <a:spLocks/>
            </p:cNvSpPr>
            <p:nvPr/>
          </p:nvSpPr>
          <p:spPr bwMode="auto">
            <a:xfrm>
              <a:off x="5172" y="3525"/>
              <a:ext cx="41" cy="36"/>
            </a:xfrm>
            <a:custGeom>
              <a:avLst/>
              <a:gdLst>
                <a:gd name="T0" fmla="*/ 0 w 163"/>
                <a:gd name="T1" fmla="*/ 7 h 141"/>
                <a:gd name="T2" fmla="*/ 19 w 163"/>
                <a:gd name="T3" fmla="*/ 4 h 141"/>
                <a:gd name="T4" fmla="*/ 41 w 163"/>
                <a:gd name="T5" fmla="*/ 2 h 141"/>
                <a:gd name="T6" fmla="*/ 60 w 163"/>
                <a:gd name="T7" fmla="*/ 0 h 141"/>
                <a:gd name="T8" fmla="*/ 82 w 163"/>
                <a:gd name="T9" fmla="*/ 0 h 141"/>
                <a:gd name="T10" fmla="*/ 103 w 163"/>
                <a:gd name="T11" fmla="*/ 0 h 141"/>
                <a:gd name="T12" fmla="*/ 123 w 163"/>
                <a:gd name="T13" fmla="*/ 2 h 141"/>
                <a:gd name="T14" fmla="*/ 144 w 163"/>
                <a:gd name="T15" fmla="*/ 4 h 141"/>
                <a:gd name="T16" fmla="*/ 163 w 163"/>
                <a:gd name="T17" fmla="*/ 7 h 141"/>
                <a:gd name="T18" fmla="*/ 156 w 163"/>
                <a:gd name="T19" fmla="*/ 25 h 141"/>
                <a:gd name="T20" fmla="*/ 147 w 163"/>
                <a:gd name="T21" fmla="*/ 42 h 141"/>
                <a:gd name="T22" fmla="*/ 137 w 163"/>
                <a:gd name="T23" fmla="*/ 60 h 141"/>
                <a:gd name="T24" fmla="*/ 127 w 163"/>
                <a:gd name="T25" fmla="*/ 77 h 141"/>
                <a:gd name="T26" fmla="*/ 118 w 163"/>
                <a:gd name="T27" fmla="*/ 94 h 141"/>
                <a:gd name="T28" fmla="*/ 106 w 163"/>
                <a:gd name="T29" fmla="*/ 110 h 141"/>
                <a:gd name="T30" fmla="*/ 94 w 163"/>
                <a:gd name="T31" fmla="*/ 125 h 141"/>
                <a:gd name="T32" fmla="*/ 82 w 163"/>
                <a:gd name="T33" fmla="*/ 141 h 141"/>
                <a:gd name="T34" fmla="*/ 69 w 163"/>
                <a:gd name="T35" fmla="*/ 125 h 141"/>
                <a:gd name="T36" fmla="*/ 58 w 163"/>
                <a:gd name="T37" fmla="*/ 110 h 141"/>
                <a:gd name="T38" fmla="*/ 47 w 163"/>
                <a:gd name="T39" fmla="*/ 94 h 141"/>
                <a:gd name="T40" fmla="*/ 36 w 163"/>
                <a:gd name="T41" fmla="*/ 77 h 141"/>
                <a:gd name="T42" fmla="*/ 26 w 163"/>
                <a:gd name="T43" fmla="*/ 60 h 141"/>
                <a:gd name="T44" fmla="*/ 17 w 163"/>
                <a:gd name="T45" fmla="*/ 42 h 141"/>
                <a:gd name="T46" fmla="*/ 8 w 163"/>
                <a:gd name="T47" fmla="*/ 25 h 141"/>
                <a:gd name="T48" fmla="*/ 0 w 163"/>
                <a:gd name="T49" fmla="*/ 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3" h="141">
                  <a:moveTo>
                    <a:pt x="0" y="7"/>
                  </a:moveTo>
                  <a:lnTo>
                    <a:pt x="19" y="4"/>
                  </a:lnTo>
                  <a:lnTo>
                    <a:pt x="41" y="2"/>
                  </a:lnTo>
                  <a:lnTo>
                    <a:pt x="60" y="0"/>
                  </a:lnTo>
                  <a:lnTo>
                    <a:pt x="82" y="0"/>
                  </a:lnTo>
                  <a:lnTo>
                    <a:pt x="103" y="0"/>
                  </a:lnTo>
                  <a:lnTo>
                    <a:pt x="123" y="2"/>
                  </a:lnTo>
                  <a:lnTo>
                    <a:pt x="144" y="4"/>
                  </a:lnTo>
                  <a:lnTo>
                    <a:pt x="163" y="7"/>
                  </a:lnTo>
                  <a:lnTo>
                    <a:pt x="156" y="25"/>
                  </a:lnTo>
                  <a:lnTo>
                    <a:pt x="147" y="42"/>
                  </a:lnTo>
                  <a:lnTo>
                    <a:pt x="137" y="60"/>
                  </a:lnTo>
                  <a:lnTo>
                    <a:pt x="127" y="77"/>
                  </a:lnTo>
                  <a:lnTo>
                    <a:pt x="118" y="94"/>
                  </a:lnTo>
                  <a:lnTo>
                    <a:pt x="106" y="110"/>
                  </a:lnTo>
                  <a:lnTo>
                    <a:pt x="94" y="125"/>
                  </a:lnTo>
                  <a:lnTo>
                    <a:pt x="82" y="141"/>
                  </a:lnTo>
                  <a:lnTo>
                    <a:pt x="69" y="125"/>
                  </a:lnTo>
                  <a:lnTo>
                    <a:pt x="58" y="110"/>
                  </a:lnTo>
                  <a:lnTo>
                    <a:pt x="47" y="94"/>
                  </a:lnTo>
                  <a:lnTo>
                    <a:pt x="36" y="77"/>
                  </a:lnTo>
                  <a:lnTo>
                    <a:pt x="26" y="60"/>
                  </a:lnTo>
                  <a:lnTo>
                    <a:pt x="17" y="42"/>
                  </a:lnTo>
                  <a:lnTo>
                    <a:pt x="8" y="25"/>
                  </a:lnTo>
                  <a:lnTo>
                    <a:pt x="0" y="7"/>
                  </a:lnTo>
                  <a:close/>
                </a:path>
              </a:pathLst>
            </a:custGeom>
            <a:solidFill>
              <a:schemeClr val="bg1"/>
            </a:solidFill>
            <a:ln>
              <a:noFill/>
            </a:ln>
            <a:extLst/>
          </p:spPr>
          <p:txBody>
            <a:bodyPr/>
            <a:lstStyle/>
            <a:p>
              <a:pPr defTabSz="454748" eaLnBrk="0" hangingPunct="0">
                <a:defRPr/>
              </a:pPr>
              <a:endParaRPr lang="en-US" sz="1813" dirty="0">
                <a:solidFill>
                  <a:srgbClr val="004266"/>
                </a:solidFill>
                <a:latin typeface="Arial"/>
                <a:ea typeface="MS PGothic" charset="-128"/>
                <a:cs typeface="Arial"/>
              </a:endParaRPr>
            </a:p>
          </p:txBody>
        </p:sp>
      </p:grpSp>
      <p:pic>
        <p:nvPicPr>
          <p:cNvPr id="18470" name="Picture 4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851922" y="3574257"/>
            <a:ext cx="2851547" cy="1279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71" name="Picture 5"/>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11342" y="1989535"/>
            <a:ext cx="3812381" cy="110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1840" name="Picture 144"/>
          <p:cNvPicPr>
            <a:picLocks noChangeAspect="1" noChangeArrowheads="1"/>
          </p:cNvPicPr>
          <p:nvPr/>
        </p:nvPicPr>
        <p:blipFill>
          <a:blip r:embed="rId12"/>
          <a:srcRect/>
          <a:stretch>
            <a:fillRect/>
          </a:stretch>
        </p:blipFill>
        <p:spPr bwMode="auto">
          <a:xfrm>
            <a:off x="483394" y="2180035"/>
            <a:ext cx="904875" cy="292894"/>
          </a:xfrm>
          <a:prstGeom prst="rect">
            <a:avLst/>
          </a:prstGeom>
          <a:noFill/>
          <a:ln>
            <a:noFill/>
          </a:ln>
          <a:effectLst>
            <a:outerShdw blurRad="63500" sx="102000" sy="102000" algn="ctr"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73" name="Picture 146" descr="http://www.sdropstechnologies.com/wp-content/uploads/2014/07/wp10cb9265_06.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08435" y="3908822"/>
            <a:ext cx="298847" cy="298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TextBox 38"/>
          <p:cNvSpPr txBox="1"/>
          <p:nvPr/>
        </p:nvSpPr>
        <p:spPr>
          <a:xfrm>
            <a:off x="7536656" y="2026444"/>
            <a:ext cx="1287066" cy="1105610"/>
          </a:xfrm>
          <a:prstGeom prst="rect">
            <a:avLst/>
          </a:prstGeom>
          <a:solidFill>
            <a:schemeClr val="bg1"/>
          </a:solidFill>
        </p:spPr>
        <p:txBody>
          <a:bodyPr lIns="57137" tIns="28568" rIns="57137" bIns="28568">
            <a:spAutoFit/>
          </a:bodyPr>
          <a:lstStyle/>
          <a:p>
            <a:pPr defTabSz="454748" eaLnBrk="0" hangingPunct="0">
              <a:defRPr/>
            </a:pPr>
            <a:r>
              <a:rPr lang="en-US" sz="812" dirty="0">
                <a:solidFill>
                  <a:srgbClr val="004266"/>
                </a:solidFill>
                <a:latin typeface="Arial"/>
                <a:ea typeface="MS PGothic" charset="-128"/>
                <a:cs typeface="Arial"/>
              </a:rPr>
              <a:t>Grain has fallen below warning levels and is causing out-of-stock</a:t>
            </a:r>
          </a:p>
          <a:p>
            <a:pPr defTabSz="454748" eaLnBrk="0" hangingPunct="0">
              <a:defRPr/>
            </a:pPr>
            <a:endParaRPr lang="en-US" sz="313" dirty="0">
              <a:solidFill>
                <a:srgbClr val="004266"/>
              </a:solidFill>
              <a:latin typeface="Arial"/>
              <a:ea typeface="MS PGothic" charset="-128"/>
              <a:cs typeface="Arial"/>
            </a:endParaRPr>
          </a:p>
          <a:p>
            <a:pPr defTabSz="454748" eaLnBrk="0" hangingPunct="0">
              <a:defRPr/>
            </a:pPr>
            <a:endParaRPr lang="en-US" sz="812" dirty="0">
              <a:solidFill>
                <a:srgbClr val="004266"/>
              </a:solidFill>
              <a:latin typeface="Arial"/>
              <a:ea typeface="MS PGothic" charset="-128"/>
              <a:cs typeface="Arial"/>
            </a:endParaRPr>
          </a:p>
          <a:p>
            <a:pPr defTabSz="454748" eaLnBrk="0" hangingPunct="0">
              <a:defRPr/>
            </a:pPr>
            <a:r>
              <a:rPr lang="en-US" sz="812" dirty="0">
                <a:solidFill>
                  <a:srgbClr val="004266"/>
                </a:solidFill>
                <a:latin typeface="Arial"/>
                <a:ea typeface="MS PGothic" charset="-128"/>
                <a:cs typeface="Arial"/>
              </a:rPr>
              <a:t>Fall weather forecasts  create new crop protection recommendations</a:t>
            </a:r>
          </a:p>
        </p:txBody>
      </p:sp>
      <p:sp>
        <p:nvSpPr>
          <p:cNvPr id="46" name="Title 1"/>
          <p:cNvSpPr txBox="1">
            <a:spLocks/>
          </p:cNvSpPr>
          <p:nvPr/>
        </p:nvSpPr>
        <p:spPr bwMode="auto">
          <a:xfrm>
            <a:off x="266700" y="1202531"/>
            <a:ext cx="8591550" cy="476250"/>
          </a:xfrm>
          <a:prstGeom prst="rect">
            <a:avLst/>
          </a:prstGeom>
          <a:noFill/>
          <a:ln w="9525">
            <a:noFill/>
            <a:miter lim="800000"/>
            <a:headEnd/>
            <a:tailEnd/>
          </a:ln>
        </p:spPr>
        <p:txBody>
          <a:bodyPr lIns="68564" tIns="34282" rIns="68564" bIns="34282"/>
          <a:lstStyle>
            <a:lvl1pPr algn="l" rtl="0" eaLnBrk="1" fontAlgn="base" hangingPunct="1">
              <a:lnSpc>
                <a:spcPct val="90000"/>
              </a:lnSpc>
              <a:spcBef>
                <a:spcPct val="0"/>
              </a:spcBef>
              <a:spcAft>
                <a:spcPct val="0"/>
              </a:spcAft>
              <a:defRPr sz="2833">
                <a:solidFill>
                  <a:schemeClr val="tx1"/>
                </a:solidFill>
                <a:latin typeface="+mj-lt"/>
                <a:ea typeface="+mj-ea"/>
                <a:cs typeface="+mj-cs"/>
              </a:defRPr>
            </a:lvl1pPr>
            <a:lvl2pPr algn="l" rtl="0" eaLnBrk="1" fontAlgn="base" hangingPunct="1">
              <a:lnSpc>
                <a:spcPct val="90000"/>
              </a:lnSpc>
              <a:spcBef>
                <a:spcPct val="0"/>
              </a:spcBef>
              <a:spcAft>
                <a:spcPct val="0"/>
              </a:spcAft>
              <a:defRPr sz="2667">
                <a:solidFill>
                  <a:schemeClr val="tx1"/>
                </a:solidFill>
                <a:latin typeface="Arial" pitchFamily="34" charset="0"/>
              </a:defRPr>
            </a:lvl2pPr>
            <a:lvl3pPr algn="l" rtl="0" eaLnBrk="1" fontAlgn="base" hangingPunct="1">
              <a:lnSpc>
                <a:spcPct val="90000"/>
              </a:lnSpc>
              <a:spcBef>
                <a:spcPct val="0"/>
              </a:spcBef>
              <a:spcAft>
                <a:spcPct val="0"/>
              </a:spcAft>
              <a:defRPr sz="2667">
                <a:solidFill>
                  <a:schemeClr val="tx1"/>
                </a:solidFill>
                <a:latin typeface="Arial" pitchFamily="34" charset="0"/>
              </a:defRPr>
            </a:lvl3pPr>
            <a:lvl4pPr algn="l" rtl="0" eaLnBrk="1" fontAlgn="base" hangingPunct="1">
              <a:lnSpc>
                <a:spcPct val="90000"/>
              </a:lnSpc>
              <a:spcBef>
                <a:spcPct val="0"/>
              </a:spcBef>
              <a:spcAft>
                <a:spcPct val="0"/>
              </a:spcAft>
              <a:defRPr sz="2667">
                <a:solidFill>
                  <a:schemeClr val="tx1"/>
                </a:solidFill>
                <a:latin typeface="Arial" pitchFamily="34" charset="0"/>
              </a:defRPr>
            </a:lvl4pPr>
            <a:lvl5pPr algn="l" rtl="0" eaLnBrk="1" fontAlgn="base" hangingPunct="1">
              <a:lnSpc>
                <a:spcPct val="90000"/>
              </a:lnSpc>
              <a:spcBef>
                <a:spcPct val="0"/>
              </a:spcBef>
              <a:spcAft>
                <a:spcPct val="0"/>
              </a:spcAft>
              <a:defRPr sz="2667">
                <a:solidFill>
                  <a:schemeClr val="tx1"/>
                </a:solidFill>
                <a:latin typeface="Arial" pitchFamily="34" charset="0"/>
              </a:defRPr>
            </a:lvl5pPr>
            <a:lvl6pPr marL="539152" algn="l" rtl="0" eaLnBrk="1" fontAlgn="base" hangingPunct="1">
              <a:lnSpc>
                <a:spcPct val="90000"/>
              </a:lnSpc>
              <a:spcBef>
                <a:spcPct val="0"/>
              </a:spcBef>
              <a:spcAft>
                <a:spcPct val="0"/>
              </a:spcAft>
              <a:defRPr sz="2667">
                <a:solidFill>
                  <a:schemeClr val="tx1"/>
                </a:solidFill>
                <a:latin typeface="Arial" pitchFamily="34" charset="0"/>
              </a:defRPr>
            </a:lvl6pPr>
            <a:lvl7pPr marL="1078303" algn="l" rtl="0" eaLnBrk="1" fontAlgn="base" hangingPunct="1">
              <a:lnSpc>
                <a:spcPct val="90000"/>
              </a:lnSpc>
              <a:spcBef>
                <a:spcPct val="0"/>
              </a:spcBef>
              <a:spcAft>
                <a:spcPct val="0"/>
              </a:spcAft>
              <a:defRPr sz="2667">
                <a:solidFill>
                  <a:schemeClr val="tx1"/>
                </a:solidFill>
                <a:latin typeface="Arial" pitchFamily="34" charset="0"/>
              </a:defRPr>
            </a:lvl7pPr>
            <a:lvl8pPr marL="1617438" algn="l" rtl="0" eaLnBrk="1" fontAlgn="base" hangingPunct="1">
              <a:lnSpc>
                <a:spcPct val="90000"/>
              </a:lnSpc>
              <a:spcBef>
                <a:spcPct val="0"/>
              </a:spcBef>
              <a:spcAft>
                <a:spcPct val="0"/>
              </a:spcAft>
              <a:defRPr sz="2667">
                <a:solidFill>
                  <a:schemeClr val="tx1"/>
                </a:solidFill>
                <a:latin typeface="Arial" pitchFamily="34" charset="0"/>
              </a:defRPr>
            </a:lvl8pPr>
            <a:lvl9pPr marL="2156607" algn="l" rtl="0" eaLnBrk="1" fontAlgn="base" hangingPunct="1">
              <a:lnSpc>
                <a:spcPct val="90000"/>
              </a:lnSpc>
              <a:spcBef>
                <a:spcPct val="0"/>
              </a:spcBef>
              <a:spcAft>
                <a:spcPct val="0"/>
              </a:spcAft>
              <a:defRPr sz="2667">
                <a:solidFill>
                  <a:schemeClr val="tx1"/>
                </a:solidFill>
                <a:latin typeface="Arial" pitchFamily="34" charset="0"/>
              </a:defRPr>
            </a:lvl9pPr>
          </a:lstStyle>
          <a:p>
            <a:pPr algn="ctr" defTabSz="685800">
              <a:defRPr/>
            </a:pPr>
            <a:r>
              <a:rPr lang="en-US" sz="1200" kern="0" dirty="0">
                <a:solidFill>
                  <a:srgbClr val="003F69">
                    <a:lumMod val="75000"/>
                  </a:srgbClr>
                </a:solidFill>
                <a:latin typeface="Arial"/>
                <a:cs typeface="Arial"/>
              </a:rPr>
              <a:t>Business early warning analytical models combined with yield predictions to provide performance-based insights</a:t>
            </a:r>
          </a:p>
        </p:txBody>
      </p:sp>
      <p:pic>
        <p:nvPicPr>
          <p:cNvPr id="18476" name="Picture 31" descr="http://icons.iconarchive.com/icons/gakuseisean/ivista-2/256/Misc-Database-1-icon.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1031" y="4298156"/>
            <a:ext cx="596504" cy="596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TextBox 47"/>
          <p:cNvSpPr txBox="1"/>
          <p:nvPr/>
        </p:nvSpPr>
        <p:spPr>
          <a:xfrm>
            <a:off x="416719" y="4276725"/>
            <a:ext cx="976313" cy="269304"/>
          </a:xfrm>
          <a:prstGeom prst="rect">
            <a:avLst/>
          </a:prstGeom>
          <a:noFill/>
        </p:spPr>
        <p:txBody>
          <a:bodyPr lIns="0" tIns="0" rIns="0" bIns="0">
            <a:spAutoFit/>
          </a:bodyPr>
          <a:lstStyle/>
          <a:p>
            <a:pPr algn="ctr" defTabSz="685800" eaLnBrk="0" fontAlgn="base" hangingPunct="0">
              <a:spcBef>
                <a:spcPct val="0"/>
              </a:spcBef>
              <a:spcAft>
                <a:spcPct val="0"/>
              </a:spcAft>
              <a:defRPr/>
            </a:pPr>
            <a:r>
              <a:rPr kumimoji="1" lang="en-US" sz="875" b="1" dirty="0">
                <a:solidFill>
                  <a:srgbClr val="808080"/>
                </a:solidFill>
                <a:latin typeface="Arial" charset="0"/>
                <a:ea typeface="ＭＳ Ｐゴシック" charset="-128"/>
                <a:cs typeface="Arial"/>
              </a:rPr>
              <a:t>Operations Systems</a:t>
            </a:r>
          </a:p>
        </p:txBody>
      </p:sp>
    </p:spTree>
    <p:extLst>
      <p:ext uri="{BB962C8B-B14F-4D97-AF65-F5344CB8AC3E}">
        <p14:creationId xmlns:p14="http://schemas.microsoft.com/office/powerpoint/2010/main" val="11179523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38"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7656" name="think-cell Slide" r:id="rId6" imgW="270" imgH="270" progId="TCLayout.ActiveDocument.1">
                  <p:embed/>
                </p:oleObj>
              </mc:Choice>
              <mc:Fallback>
                <p:oleObj name="think-cell Slide" r:id="rId6" imgW="270" imgH="270" progId="TCLayout.ActiveDocument.1">
                  <p:embed/>
                  <p:pic>
                    <p:nvPicPr>
                      <p:cNvPr id="20482" name="Object 3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483" name="Rectangle 37" hidden="1"/>
          <p:cNvSpPr>
            <a:spLocks noChangeArrowheads="1"/>
          </p:cNvSpPr>
          <p:nvPr>
            <p:custDataLst>
              <p:tags r:id="rId3"/>
            </p:custDataLst>
          </p:nvPr>
        </p:nvSpPr>
        <p:spPr bwMode="auto">
          <a:xfrm>
            <a:off x="1" y="1"/>
            <a:ext cx="98822" cy="98822"/>
          </a:xfrm>
          <a:prstGeom prst="rect">
            <a:avLst/>
          </a:prstGeom>
          <a:solidFill>
            <a:srgbClr val="FFFF00"/>
          </a:solidFill>
          <a:ln w="9525" algn="ctr">
            <a:solidFill>
              <a:schemeClr val="tx1"/>
            </a:solidFill>
            <a:round/>
            <a:headEnd/>
            <a:tailEnd/>
          </a:ln>
        </p:spPr>
        <p:txBody>
          <a:bodyPr wrap="none" lIns="0" tIns="0" rIns="0" bIns="0"/>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algn="ctr" defTabSz="685800" fontAlgn="base">
              <a:spcBef>
                <a:spcPct val="0"/>
              </a:spcBef>
              <a:spcAft>
                <a:spcPct val="0"/>
              </a:spcAft>
            </a:pPr>
            <a:endParaRPr lang="en-US" altLang="en-US" sz="1050">
              <a:solidFill>
                <a:srgbClr val="000000"/>
              </a:solidFill>
              <a:latin typeface="Calibri" panose="020F0502020204030204" pitchFamily="34" charset="0"/>
              <a:cs typeface="Arial"/>
              <a:sym typeface="Calibri" panose="020F0502020204030204" pitchFamily="34" charset="0"/>
            </a:endParaRPr>
          </a:p>
        </p:txBody>
      </p:sp>
      <p:pic>
        <p:nvPicPr>
          <p:cNvPr id="2048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78969" y="2625329"/>
            <a:ext cx="2721769" cy="6643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85"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43351" y="3632598"/>
            <a:ext cx="489347" cy="472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2" name="Down Arrow 121"/>
          <p:cNvSpPr/>
          <p:nvPr/>
        </p:nvSpPr>
        <p:spPr bwMode="auto">
          <a:xfrm rot="10800000">
            <a:off x="4079082" y="3355182"/>
            <a:ext cx="213122" cy="221456"/>
          </a:xfrm>
          <a:prstGeom prst="downArrow">
            <a:avLst/>
          </a:prstGeom>
          <a:solidFill>
            <a:schemeClr val="bg2">
              <a:lumMod val="40000"/>
              <a:lumOff val="60000"/>
            </a:schemeClr>
          </a:solidFill>
          <a:ln w="9525" cap="flat" cmpd="sng" algn="ctr">
            <a:solidFill>
              <a:schemeClr val="bg2">
                <a:lumMod val="20000"/>
                <a:lumOff val="80000"/>
              </a:schemeClr>
            </a:solidFill>
            <a:prstDash val="solid"/>
            <a:round/>
            <a:headEnd type="none" w="med" len="med"/>
            <a:tailEnd type="none" w="med" len="med"/>
          </a:ln>
          <a:effectLst/>
        </p:spPr>
        <p:txBody>
          <a:bodyPr/>
          <a:lstStyle/>
          <a:p>
            <a:pPr algn="ctr" defTabSz="685800" eaLnBrk="0" fontAlgn="base" hangingPunct="0">
              <a:spcBef>
                <a:spcPct val="0"/>
              </a:spcBef>
              <a:spcAft>
                <a:spcPct val="0"/>
              </a:spcAft>
              <a:defRPr/>
            </a:pPr>
            <a:endParaRPr lang="en-US" sz="825" dirty="0">
              <a:solidFill>
                <a:srgbClr val="000000"/>
              </a:solidFill>
              <a:latin typeface="Arial" panose="020B0604020202020204" pitchFamily="34" charset="0"/>
              <a:ea typeface="MS PGothic" panose="020B0600070205080204" pitchFamily="34" charset="-128"/>
              <a:cs typeface="Arial"/>
            </a:endParaRPr>
          </a:p>
        </p:txBody>
      </p:sp>
      <p:sp>
        <p:nvSpPr>
          <p:cNvPr id="127" name="TextBox 126"/>
          <p:cNvSpPr txBox="1"/>
          <p:nvPr/>
        </p:nvSpPr>
        <p:spPr>
          <a:xfrm>
            <a:off x="3897697" y="4167188"/>
            <a:ext cx="577081" cy="346249"/>
          </a:xfrm>
          <a:prstGeom prst="rect">
            <a:avLst/>
          </a:prstGeom>
          <a:noFill/>
        </p:spPr>
        <p:txBody>
          <a:bodyPr wrap="none" lIns="0" tIns="0" rIns="0" bIns="0">
            <a:spAutoFit/>
          </a:bodyPr>
          <a:lstStyle/>
          <a:p>
            <a:pPr algn="ctr" defTabSz="685800" eaLnBrk="0" fontAlgn="base" hangingPunct="0">
              <a:spcBef>
                <a:spcPct val="0"/>
              </a:spcBef>
              <a:spcAft>
                <a:spcPct val="0"/>
              </a:spcAft>
              <a:defRPr/>
            </a:pPr>
            <a:r>
              <a:rPr kumimoji="1" lang="en-US" sz="750" b="1" dirty="0">
                <a:solidFill>
                  <a:srgbClr val="000000">
                    <a:lumMod val="75000"/>
                    <a:lumOff val="25000"/>
                  </a:srgbClr>
                </a:solidFill>
                <a:latin typeface="Arial" panose="020B0604020202020204" pitchFamily="34" charset="0"/>
                <a:ea typeface="MS PGothic" panose="020B0600070205080204" pitchFamily="34" charset="-128"/>
                <a:cs typeface="Arial"/>
              </a:rPr>
              <a:t>Marketing &amp; </a:t>
            </a:r>
          </a:p>
          <a:p>
            <a:pPr algn="ctr" defTabSz="685800" eaLnBrk="0" fontAlgn="base" hangingPunct="0">
              <a:spcBef>
                <a:spcPct val="0"/>
              </a:spcBef>
              <a:spcAft>
                <a:spcPct val="0"/>
              </a:spcAft>
              <a:defRPr/>
            </a:pPr>
            <a:r>
              <a:rPr kumimoji="1" lang="en-US" sz="750" b="1" dirty="0">
                <a:solidFill>
                  <a:srgbClr val="000000">
                    <a:lumMod val="75000"/>
                    <a:lumOff val="25000"/>
                  </a:srgbClr>
                </a:solidFill>
                <a:latin typeface="Arial" panose="020B0604020202020204" pitchFamily="34" charset="0"/>
                <a:ea typeface="MS PGothic" panose="020B0600070205080204" pitchFamily="34" charset="-128"/>
                <a:cs typeface="Arial"/>
              </a:rPr>
              <a:t>Advertising </a:t>
            </a:r>
          </a:p>
          <a:p>
            <a:pPr algn="ctr" defTabSz="685800" eaLnBrk="0" fontAlgn="base" hangingPunct="0">
              <a:spcBef>
                <a:spcPct val="0"/>
              </a:spcBef>
              <a:spcAft>
                <a:spcPct val="0"/>
              </a:spcAft>
              <a:defRPr/>
            </a:pPr>
            <a:r>
              <a:rPr kumimoji="1" lang="en-US" sz="750" b="1" dirty="0">
                <a:solidFill>
                  <a:srgbClr val="000000">
                    <a:lumMod val="75000"/>
                    <a:lumOff val="25000"/>
                  </a:srgbClr>
                </a:solidFill>
                <a:latin typeface="Arial" panose="020B0604020202020204" pitchFamily="34" charset="0"/>
                <a:ea typeface="MS PGothic" panose="020B0600070205080204" pitchFamily="34" charset="-128"/>
                <a:cs typeface="Arial"/>
              </a:rPr>
              <a:t>Levers</a:t>
            </a:r>
          </a:p>
        </p:txBody>
      </p:sp>
      <p:pic>
        <p:nvPicPr>
          <p:cNvPr id="20488"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200400" y="3571875"/>
            <a:ext cx="578644" cy="619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0" name="Down Arrow 119"/>
          <p:cNvSpPr/>
          <p:nvPr/>
        </p:nvSpPr>
        <p:spPr bwMode="auto">
          <a:xfrm rot="10800000">
            <a:off x="3353991" y="3355182"/>
            <a:ext cx="213122" cy="221456"/>
          </a:xfrm>
          <a:prstGeom prst="downArrow">
            <a:avLst/>
          </a:prstGeom>
          <a:solidFill>
            <a:schemeClr val="bg2">
              <a:lumMod val="40000"/>
              <a:lumOff val="60000"/>
            </a:schemeClr>
          </a:solidFill>
          <a:ln w="9525" cap="flat" cmpd="sng" algn="ctr">
            <a:solidFill>
              <a:schemeClr val="bg2">
                <a:lumMod val="20000"/>
                <a:lumOff val="80000"/>
              </a:schemeClr>
            </a:solidFill>
            <a:prstDash val="solid"/>
            <a:round/>
            <a:headEnd type="none" w="med" len="med"/>
            <a:tailEnd type="none" w="med" len="med"/>
          </a:ln>
          <a:effectLst/>
        </p:spPr>
        <p:txBody>
          <a:bodyPr/>
          <a:lstStyle/>
          <a:p>
            <a:pPr algn="ctr" defTabSz="685800" eaLnBrk="0" fontAlgn="base" hangingPunct="0">
              <a:spcBef>
                <a:spcPct val="0"/>
              </a:spcBef>
              <a:spcAft>
                <a:spcPct val="0"/>
              </a:spcAft>
              <a:defRPr/>
            </a:pPr>
            <a:endParaRPr lang="en-US" sz="825" dirty="0">
              <a:solidFill>
                <a:srgbClr val="000000"/>
              </a:solidFill>
              <a:latin typeface="Arial" panose="020B0604020202020204" pitchFamily="34" charset="0"/>
              <a:ea typeface="MS PGothic" panose="020B0600070205080204" pitchFamily="34" charset="-128"/>
              <a:cs typeface="Arial"/>
            </a:endParaRPr>
          </a:p>
        </p:txBody>
      </p:sp>
      <p:sp>
        <p:nvSpPr>
          <p:cNvPr id="128" name="TextBox 127"/>
          <p:cNvSpPr txBox="1"/>
          <p:nvPr/>
        </p:nvSpPr>
        <p:spPr>
          <a:xfrm>
            <a:off x="3242295" y="4164806"/>
            <a:ext cx="405560" cy="230832"/>
          </a:xfrm>
          <a:prstGeom prst="rect">
            <a:avLst/>
          </a:prstGeom>
          <a:noFill/>
        </p:spPr>
        <p:txBody>
          <a:bodyPr wrap="none" lIns="0" tIns="0" rIns="0" bIns="0">
            <a:spAutoFit/>
          </a:bodyPr>
          <a:lstStyle/>
          <a:p>
            <a:pPr algn="ctr" defTabSz="685800" eaLnBrk="0" fontAlgn="base" hangingPunct="0">
              <a:spcBef>
                <a:spcPct val="0"/>
              </a:spcBef>
              <a:spcAft>
                <a:spcPct val="0"/>
              </a:spcAft>
              <a:defRPr/>
            </a:pPr>
            <a:r>
              <a:rPr kumimoji="1" lang="en-US" sz="750" b="1" dirty="0">
                <a:solidFill>
                  <a:srgbClr val="000000">
                    <a:lumMod val="75000"/>
                    <a:lumOff val="25000"/>
                  </a:srgbClr>
                </a:solidFill>
                <a:latin typeface="Arial" panose="020B0604020202020204" pitchFamily="34" charset="0"/>
                <a:ea typeface="MS PGothic" panose="020B0600070205080204" pitchFamily="34" charset="-128"/>
                <a:cs typeface="Arial"/>
              </a:rPr>
              <a:t>Weather </a:t>
            </a:r>
          </a:p>
          <a:p>
            <a:pPr algn="ctr" defTabSz="685800" eaLnBrk="0" fontAlgn="base" hangingPunct="0">
              <a:spcBef>
                <a:spcPct val="0"/>
              </a:spcBef>
              <a:spcAft>
                <a:spcPct val="0"/>
              </a:spcAft>
              <a:defRPr/>
            </a:pPr>
            <a:endParaRPr kumimoji="1" lang="en-US" sz="750" b="1" dirty="0">
              <a:solidFill>
                <a:srgbClr val="000000">
                  <a:lumMod val="75000"/>
                  <a:lumOff val="25000"/>
                </a:srgbClr>
              </a:solidFill>
              <a:latin typeface="Arial" panose="020B0604020202020204" pitchFamily="34" charset="0"/>
              <a:ea typeface="MS PGothic" panose="020B0600070205080204" pitchFamily="34" charset="-128"/>
              <a:cs typeface="Arial"/>
            </a:endParaRPr>
          </a:p>
        </p:txBody>
      </p:sp>
      <p:pic>
        <p:nvPicPr>
          <p:cNvPr id="20491" name="Picture 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52962" y="3574257"/>
            <a:ext cx="520304" cy="5512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4" name="Down Arrow 123"/>
          <p:cNvSpPr/>
          <p:nvPr/>
        </p:nvSpPr>
        <p:spPr bwMode="auto">
          <a:xfrm rot="10800000">
            <a:off x="4798219" y="3355182"/>
            <a:ext cx="213122" cy="221456"/>
          </a:xfrm>
          <a:prstGeom prst="downArrow">
            <a:avLst/>
          </a:prstGeom>
          <a:solidFill>
            <a:schemeClr val="bg2">
              <a:lumMod val="40000"/>
              <a:lumOff val="60000"/>
            </a:schemeClr>
          </a:solidFill>
          <a:ln w="9525" cap="flat" cmpd="sng" algn="ctr">
            <a:solidFill>
              <a:schemeClr val="bg2">
                <a:lumMod val="20000"/>
                <a:lumOff val="80000"/>
              </a:schemeClr>
            </a:solidFill>
            <a:prstDash val="solid"/>
            <a:round/>
            <a:headEnd type="none" w="med" len="med"/>
            <a:tailEnd type="none" w="med" len="med"/>
          </a:ln>
          <a:effectLst/>
        </p:spPr>
        <p:txBody>
          <a:bodyPr/>
          <a:lstStyle/>
          <a:p>
            <a:pPr algn="ctr" defTabSz="685800" eaLnBrk="0" fontAlgn="base" hangingPunct="0">
              <a:spcBef>
                <a:spcPct val="0"/>
              </a:spcBef>
              <a:spcAft>
                <a:spcPct val="0"/>
              </a:spcAft>
              <a:defRPr/>
            </a:pPr>
            <a:endParaRPr lang="en-US" sz="825" dirty="0">
              <a:solidFill>
                <a:srgbClr val="000000"/>
              </a:solidFill>
              <a:latin typeface="Arial" panose="020B0604020202020204" pitchFamily="34" charset="0"/>
              <a:ea typeface="MS PGothic" panose="020B0600070205080204" pitchFamily="34" charset="-128"/>
              <a:cs typeface="Arial"/>
            </a:endParaRPr>
          </a:p>
        </p:txBody>
      </p:sp>
      <p:sp>
        <p:nvSpPr>
          <p:cNvPr id="129" name="TextBox 128"/>
          <p:cNvSpPr txBox="1"/>
          <p:nvPr/>
        </p:nvSpPr>
        <p:spPr>
          <a:xfrm>
            <a:off x="4593315" y="4167188"/>
            <a:ext cx="639599" cy="230832"/>
          </a:xfrm>
          <a:prstGeom prst="rect">
            <a:avLst/>
          </a:prstGeom>
          <a:noFill/>
        </p:spPr>
        <p:txBody>
          <a:bodyPr wrap="none" lIns="0" tIns="0" rIns="0" bIns="0">
            <a:spAutoFit/>
          </a:bodyPr>
          <a:lstStyle/>
          <a:p>
            <a:pPr algn="ctr" defTabSz="685800" eaLnBrk="0" fontAlgn="base" hangingPunct="0">
              <a:spcBef>
                <a:spcPct val="0"/>
              </a:spcBef>
              <a:spcAft>
                <a:spcPct val="0"/>
              </a:spcAft>
              <a:defRPr/>
            </a:pPr>
            <a:r>
              <a:rPr kumimoji="1" lang="en-US" sz="750" b="1" dirty="0">
                <a:solidFill>
                  <a:srgbClr val="000000">
                    <a:lumMod val="75000"/>
                    <a:lumOff val="25000"/>
                  </a:srgbClr>
                </a:solidFill>
                <a:latin typeface="Arial" panose="020B0604020202020204" pitchFamily="34" charset="0"/>
                <a:ea typeface="MS PGothic" panose="020B0600070205080204" pitchFamily="34" charset="-128"/>
                <a:cs typeface="Arial"/>
              </a:rPr>
              <a:t>Cultivation</a:t>
            </a:r>
          </a:p>
          <a:p>
            <a:pPr algn="ctr" defTabSz="685800" eaLnBrk="0" fontAlgn="base" hangingPunct="0">
              <a:spcBef>
                <a:spcPct val="0"/>
              </a:spcBef>
              <a:spcAft>
                <a:spcPct val="0"/>
              </a:spcAft>
              <a:defRPr/>
            </a:pPr>
            <a:r>
              <a:rPr kumimoji="1" lang="en-US" sz="750" b="1" dirty="0">
                <a:solidFill>
                  <a:srgbClr val="000000">
                    <a:lumMod val="75000"/>
                    <a:lumOff val="25000"/>
                  </a:srgbClr>
                </a:solidFill>
                <a:latin typeface="Arial" panose="020B0604020202020204" pitchFamily="34" charset="0"/>
                <a:ea typeface="MS PGothic" panose="020B0600070205080204" pitchFamily="34" charset="-128"/>
                <a:cs typeface="Arial"/>
              </a:rPr>
              <a:t>Requirements</a:t>
            </a:r>
          </a:p>
        </p:txBody>
      </p:sp>
      <p:pic>
        <p:nvPicPr>
          <p:cNvPr id="20494" name="Picture 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407819" y="3587354"/>
            <a:ext cx="586979" cy="5453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6" name="Down Arrow 125"/>
          <p:cNvSpPr/>
          <p:nvPr/>
        </p:nvSpPr>
        <p:spPr bwMode="auto">
          <a:xfrm rot="10800000">
            <a:off x="5585222" y="3355182"/>
            <a:ext cx="213122" cy="221456"/>
          </a:xfrm>
          <a:prstGeom prst="downArrow">
            <a:avLst/>
          </a:prstGeom>
          <a:solidFill>
            <a:schemeClr val="bg2">
              <a:lumMod val="40000"/>
              <a:lumOff val="60000"/>
            </a:schemeClr>
          </a:solidFill>
          <a:ln w="9525" cap="flat" cmpd="sng" algn="ctr">
            <a:solidFill>
              <a:schemeClr val="bg2">
                <a:lumMod val="20000"/>
                <a:lumOff val="80000"/>
              </a:schemeClr>
            </a:solidFill>
            <a:prstDash val="solid"/>
            <a:round/>
            <a:headEnd type="none" w="med" len="med"/>
            <a:tailEnd type="none" w="med" len="med"/>
          </a:ln>
          <a:effectLst/>
        </p:spPr>
        <p:txBody>
          <a:bodyPr/>
          <a:lstStyle/>
          <a:p>
            <a:pPr algn="ctr" defTabSz="685800" eaLnBrk="0" fontAlgn="base" hangingPunct="0">
              <a:spcBef>
                <a:spcPct val="0"/>
              </a:spcBef>
              <a:spcAft>
                <a:spcPct val="0"/>
              </a:spcAft>
              <a:defRPr/>
            </a:pPr>
            <a:endParaRPr lang="en-US" sz="825" dirty="0">
              <a:solidFill>
                <a:srgbClr val="000000"/>
              </a:solidFill>
              <a:latin typeface="Arial" panose="020B0604020202020204" pitchFamily="34" charset="0"/>
              <a:ea typeface="MS PGothic" panose="020B0600070205080204" pitchFamily="34" charset="-128"/>
              <a:cs typeface="Arial"/>
            </a:endParaRPr>
          </a:p>
        </p:txBody>
      </p:sp>
      <p:sp>
        <p:nvSpPr>
          <p:cNvPr id="130" name="TextBox 129"/>
          <p:cNvSpPr txBox="1"/>
          <p:nvPr/>
        </p:nvSpPr>
        <p:spPr>
          <a:xfrm>
            <a:off x="5351860" y="4160044"/>
            <a:ext cx="698897" cy="346249"/>
          </a:xfrm>
          <a:prstGeom prst="rect">
            <a:avLst/>
          </a:prstGeom>
          <a:noFill/>
        </p:spPr>
        <p:txBody>
          <a:bodyPr lIns="0" tIns="0" rIns="0" bIns="0">
            <a:spAutoFit/>
          </a:bodyPr>
          <a:lstStyle/>
          <a:p>
            <a:pPr algn="ctr" defTabSz="685800" eaLnBrk="0" fontAlgn="base" hangingPunct="0">
              <a:spcBef>
                <a:spcPct val="0"/>
              </a:spcBef>
              <a:spcAft>
                <a:spcPct val="0"/>
              </a:spcAft>
              <a:defRPr/>
            </a:pPr>
            <a:r>
              <a:rPr kumimoji="1" lang="en-US" sz="750" b="1" dirty="0">
                <a:solidFill>
                  <a:srgbClr val="000000">
                    <a:lumMod val="75000"/>
                    <a:lumOff val="25000"/>
                  </a:srgbClr>
                </a:solidFill>
                <a:latin typeface="Arial" panose="020B0604020202020204" pitchFamily="34" charset="0"/>
                <a:ea typeface="MS PGothic" panose="020B0600070205080204" pitchFamily="34" charset="-128"/>
                <a:cs typeface="Arial"/>
              </a:rPr>
              <a:t>Purchase Contracts &amp; Other Costs</a:t>
            </a:r>
          </a:p>
        </p:txBody>
      </p:sp>
      <p:sp>
        <p:nvSpPr>
          <p:cNvPr id="131" name="Down Arrow 130"/>
          <p:cNvSpPr/>
          <p:nvPr/>
        </p:nvSpPr>
        <p:spPr bwMode="auto">
          <a:xfrm>
            <a:off x="4439841" y="1909762"/>
            <a:ext cx="214313" cy="682229"/>
          </a:xfrm>
          <a:prstGeom prst="downArrow">
            <a:avLst/>
          </a:prstGeom>
          <a:solidFill>
            <a:schemeClr val="bg2">
              <a:lumMod val="40000"/>
              <a:lumOff val="60000"/>
            </a:schemeClr>
          </a:solidFill>
          <a:ln w="9525" cap="flat" cmpd="sng" algn="ctr">
            <a:solidFill>
              <a:schemeClr val="bg2">
                <a:lumMod val="20000"/>
                <a:lumOff val="80000"/>
              </a:schemeClr>
            </a:solidFill>
            <a:prstDash val="solid"/>
            <a:round/>
            <a:headEnd type="none" w="med" len="med"/>
            <a:tailEnd type="none" w="med" len="med"/>
          </a:ln>
          <a:effectLst/>
        </p:spPr>
        <p:txBody>
          <a:bodyPr/>
          <a:lstStyle/>
          <a:p>
            <a:pPr algn="ctr" defTabSz="685800" eaLnBrk="0" fontAlgn="base" hangingPunct="0">
              <a:spcBef>
                <a:spcPct val="0"/>
              </a:spcBef>
              <a:spcAft>
                <a:spcPct val="0"/>
              </a:spcAft>
              <a:defRPr/>
            </a:pPr>
            <a:endParaRPr lang="en-US" sz="825" dirty="0">
              <a:solidFill>
                <a:srgbClr val="000000"/>
              </a:solidFill>
              <a:latin typeface="Arial" panose="020B0604020202020204" pitchFamily="34" charset="0"/>
              <a:ea typeface="MS PGothic" panose="020B0600070205080204" pitchFamily="34" charset="-128"/>
              <a:cs typeface="Arial"/>
            </a:endParaRPr>
          </a:p>
        </p:txBody>
      </p:sp>
      <p:sp>
        <p:nvSpPr>
          <p:cNvPr id="132" name="Down Arrow 131"/>
          <p:cNvSpPr/>
          <p:nvPr/>
        </p:nvSpPr>
        <p:spPr bwMode="auto">
          <a:xfrm>
            <a:off x="5262563" y="1909762"/>
            <a:ext cx="213122" cy="682229"/>
          </a:xfrm>
          <a:prstGeom prst="downArrow">
            <a:avLst/>
          </a:prstGeom>
          <a:solidFill>
            <a:schemeClr val="bg2">
              <a:lumMod val="40000"/>
              <a:lumOff val="60000"/>
            </a:schemeClr>
          </a:solidFill>
          <a:ln w="9525" cap="flat" cmpd="sng" algn="ctr">
            <a:solidFill>
              <a:schemeClr val="bg2">
                <a:lumMod val="20000"/>
                <a:lumOff val="80000"/>
              </a:schemeClr>
            </a:solidFill>
            <a:prstDash val="solid"/>
            <a:round/>
            <a:headEnd type="none" w="med" len="med"/>
            <a:tailEnd type="none" w="med" len="med"/>
          </a:ln>
          <a:effectLst/>
        </p:spPr>
        <p:txBody>
          <a:bodyPr/>
          <a:lstStyle/>
          <a:p>
            <a:pPr algn="ctr" defTabSz="685800" eaLnBrk="0" fontAlgn="base" hangingPunct="0">
              <a:spcBef>
                <a:spcPct val="0"/>
              </a:spcBef>
              <a:spcAft>
                <a:spcPct val="0"/>
              </a:spcAft>
              <a:defRPr/>
            </a:pPr>
            <a:endParaRPr lang="en-US" sz="825" dirty="0">
              <a:solidFill>
                <a:srgbClr val="000000"/>
              </a:solidFill>
              <a:latin typeface="Arial" panose="020B0604020202020204" pitchFamily="34" charset="0"/>
              <a:ea typeface="MS PGothic" panose="020B0600070205080204" pitchFamily="34" charset="-128"/>
              <a:cs typeface="Arial"/>
            </a:endParaRPr>
          </a:p>
        </p:txBody>
      </p:sp>
      <p:sp>
        <p:nvSpPr>
          <p:cNvPr id="133" name="Down Arrow 132"/>
          <p:cNvSpPr/>
          <p:nvPr/>
        </p:nvSpPr>
        <p:spPr bwMode="auto">
          <a:xfrm>
            <a:off x="3630216" y="1909762"/>
            <a:ext cx="214313" cy="682229"/>
          </a:xfrm>
          <a:prstGeom prst="downArrow">
            <a:avLst/>
          </a:prstGeom>
          <a:solidFill>
            <a:schemeClr val="bg2">
              <a:lumMod val="40000"/>
              <a:lumOff val="60000"/>
            </a:schemeClr>
          </a:solidFill>
          <a:ln w="9525" cap="flat" cmpd="sng" algn="ctr">
            <a:solidFill>
              <a:schemeClr val="bg2">
                <a:lumMod val="20000"/>
                <a:lumOff val="80000"/>
              </a:schemeClr>
            </a:solidFill>
            <a:prstDash val="solid"/>
            <a:round/>
            <a:headEnd type="none" w="med" len="med"/>
            <a:tailEnd type="none" w="med" len="med"/>
          </a:ln>
          <a:effectLst/>
        </p:spPr>
        <p:txBody>
          <a:bodyPr/>
          <a:lstStyle/>
          <a:p>
            <a:pPr algn="ctr" defTabSz="685800" eaLnBrk="0" fontAlgn="base" hangingPunct="0">
              <a:spcBef>
                <a:spcPct val="0"/>
              </a:spcBef>
              <a:spcAft>
                <a:spcPct val="0"/>
              </a:spcAft>
              <a:defRPr/>
            </a:pPr>
            <a:endParaRPr lang="en-US" sz="825" dirty="0">
              <a:solidFill>
                <a:srgbClr val="000000"/>
              </a:solidFill>
              <a:latin typeface="Arial" panose="020B0604020202020204" pitchFamily="34" charset="0"/>
              <a:ea typeface="MS PGothic" panose="020B0600070205080204" pitchFamily="34" charset="-128"/>
              <a:cs typeface="Arial"/>
            </a:endParaRPr>
          </a:p>
        </p:txBody>
      </p:sp>
      <p:pic>
        <p:nvPicPr>
          <p:cNvPr id="20500" name="Picture 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457575" y="1398985"/>
            <a:ext cx="2178844" cy="49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5" name="Rounded Rectangle 134"/>
          <p:cNvSpPr/>
          <p:nvPr/>
        </p:nvSpPr>
        <p:spPr bwMode="auto">
          <a:xfrm>
            <a:off x="5028010" y="2033587"/>
            <a:ext cx="697706" cy="301229"/>
          </a:xfrm>
          <a:prstGeom prst="roundRect">
            <a:avLst/>
          </a:prstGeom>
          <a:solidFill>
            <a:schemeClr val="bg2">
              <a:lumMod val="40000"/>
              <a:lumOff val="60000"/>
            </a:schemeClr>
          </a:solidFill>
          <a:ln w="9525" cap="flat" cmpd="sng" algn="ctr">
            <a:solidFill>
              <a:schemeClr val="bg1"/>
            </a:solidFill>
            <a:prstDash val="solid"/>
            <a:round/>
            <a:headEnd type="none" w="med" len="med"/>
            <a:tailEnd type="none" w="med" len="med"/>
          </a:ln>
          <a:effectLst/>
        </p:spPr>
        <p:txBody>
          <a:bodyPr/>
          <a:lstStyle/>
          <a:p>
            <a:pPr algn="ctr" defTabSz="685800" eaLnBrk="0" fontAlgn="base" hangingPunct="0">
              <a:spcBef>
                <a:spcPct val="0"/>
              </a:spcBef>
              <a:spcAft>
                <a:spcPct val="0"/>
              </a:spcAft>
              <a:defRPr/>
            </a:pPr>
            <a:r>
              <a:rPr lang="en-US" sz="675" b="1" dirty="0">
                <a:solidFill>
                  <a:srgbClr val="FFFFFF"/>
                </a:solidFill>
                <a:latin typeface="Arial" panose="020B0604020202020204" pitchFamily="34" charset="0"/>
                <a:ea typeface="MS PGothic" panose="020B0600070205080204" pitchFamily="34" charset="-128"/>
                <a:cs typeface="Arial"/>
              </a:rPr>
              <a:t>Commodity</a:t>
            </a:r>
          </a:p>
          <a:p>
            <a:pPr algn="ctr" defTabSz="685800" eaLnBrk="0" fontAlgn="base" hangingPunct="0">
              <a:spcBef>
                <a:spcPct val="0"/>
              </a:spcBef>
              <a:spcAft>
                <a:spcPct val="0"/>
              </a:spcAft>
              <a:defRPr/>
            </a:pPr>
            <a:r>
              <a:rPr lang="en-US" sz="675" b="1" dirty="0">
                <a:solidFill>
                  <a:srgbClr val="FFFFFF"/>
                </a:solidFill>
                <a:latin typeface="Arial" panose="020B0604020202020204" pitchFamily="34" charset="0"/>
                <a:ea typeface="MS PGothic" panose="020B0600070205080204" pitchFamily="34" charset="-128"/>
                <a:cs typeface="Arial"/>
              </a:rPr>
              <a:t>Pricing</a:t>
            </a:r>
          </a:p>
        </p:txBody>
      </p:sp>
      <p:sp>
        <p:nvSpPr>
          <p:cNvPr id="136" name="Rounded Rectangle 135"/>
          <p:cNvSpPr/>
          <p:nvPr/>
        </p:nvSpPr>
        <p:spPr bwMode="auto">
          <a:xfrm>
            <a:off x="4205288" y="2028825"/>
            <a:ext cx="697706" cy="302419"/>
          </a:xfrm>
          <a:prstGeom prst="roundRect">
            <a:avLst/>
          </a:prstGeom>
          <a:solidFill>
            <a:schemeClr val="bg2">
              <a:lumMod val="40000"/>
              <a:lumOff val="60000"/>
            </a:schemeClr>
          </a:solidFill>
          <a:ln w="9525" cap="flat" cmpd="sng" algn="ctr">
            <a:solidFill>
              <a:schemeClr val="bg1"/>
            </a:solidFill>
            <a:prstDash val="solid"/>
            <a:round/>
            <a:headEnd type="none" w="med" len="med"/>
            <a:tailEnd type="none" w="med" len="med"/>
          </a:ln>
          <a:effectLst/>
        </p:spPr>
        <p:txBody>
          <a:bodyPr/>
          <a:lstStyle/>
          <a:p>
            <a:pPr algn="ctr" defTabSz="685800" eaLnBrk="0" fontAlgn="base" hangingPunct="0">
              <a:spcBef>
                <a:spcPct val="0"/>
              </a:spcBef>
              <a:spcAft>
                <a:spcPct val="0"/>
              </a:spcAft>
              <a:defRPr/>
            </a:pPr>
            <a:r>
              <a:rPr lang="en-US" sz="675" b="1" dirty="0">
                <a:solidFill>
                  <a:srgbClr val="FFFFFF"/>
                </a:solidFill>
                <a:latin typeface="Arial" panose="020B0604020202020204" pitchFamily="34" charset="0"/>
                <a:ea typeface="MS PGothic" panose="020B0600070205080204" pitchFamily="34" charset="-128"/>
                <a:cs typeface="Arial"/>
              </a:rPr>
              <a:t>Farming</a:t>
            </a:r>
          </a:p>
        </p:txBody>
      </p:sp>
      <p:sp>
        <p:nvSpPr>
          <p:cNvPr id="137" name="Rounded Rectangle 136"/>
          <p:cNvSpPr/>
          <p:nvPr/>
        </p:nvSpPr>
        <p:spPr bwMode="auto">
          <a:xfrm>
            <a:off x="3382567" y="2028825"/>
            <a:ext cx="697706" cy="302419"/>
          </a:xfrm>
          <a:prstGeom prst="roundRect">
            <a:avLst/>
          </a:prstGeom>
          <a:solidFill>
            <a:schemeClr val="bg2">
              <a:lumMod val="40000"/>
              <a:lumOff val="60000"/>
            </a:schemeClr>
          </a:solidFill>
          <a:ln w="9525" cap="flat" cmpd="sng" algn="ctr">
            <a:solidFill>
              <a:schemeClr val="bg1"/>
            </a:solidFill>
            <a:prstDash val="solid"/>
            <a:round/>
            <a:headEnd type="none" w="med" len="med"/>
            <a:tailEnd type="none" w="med" len="med"/>
          </a:ln>
          <a:effectLst/>
        </p:spPr>
        <p:txBody>
          <a:bodyPr/>
          <a:lstStyle/>
          <a:p>
            <a:pPr algn="ctr" defTabSz="685800" eaLnBrk="0" fontAlgn="base" hangingPunct="0">
              <a:spcBef>
                <a:spcPct val="0"/>
              </a:spcBef>
              <a:spcAft>
                <a:spcPct val="0"/>
              </a:spcAft>
              <a:defRPr/>
            </a:pPr>
            <a:r>
              <a:rPr lang="en-US" sz="675" b="1" dirty="0">
                <a:solidFill>
                  <a:srgbClr val="FFFFFF"/>
                </a:solidFill>
                <a:latin typeface="Arial" panose="020B0604020202020204" pitchFamily="34" charset="0"/>
                <a:ea typeface="MS PGothic" panose="020B0600070205080204" pitchFamily="34" charset="-128"/>
                <a:cs typeface="Arial"/>
              </a:rPr>
              <a:t>Production Labor</a:t>
            </a:r>
          </a:p>
        </p:txBody>
      </p:sp>
      <p:sp>
        <p:nvSpPr>
          <p:cNvPr id="138" name="TextBox 137"/>
          <p:cNvSpPr txBox="1"/>
          <p:nvPr/>
        </p:nvSpPr>
        <p:spPr bwMode="auto">
          <a:xfrm>
            <a:off x="3738563" y="1009650"/>
            <a:ext cx="1843453" cy="184666"/>
          </a:xfrm>
          <a:prstGeom prst="rect">
            <a:avLst/>
          </a:prstGeom>
          <a:noFill/>
        </p:spPr>
        <p:txBody>
          <a:bodyPr wrap="none" lIns="0" tIns="0" rIns="0" bIns="0">
            <a:spAutoFit/>
          </a:bodyPr>
          <a:lstStyle/>
          <a:p>
            <a:pPr defTabSz="685800" eaLnBrk="0" fontAlgn="base" hangingPunct="0">
              <a:spcBef>
                <a:spcPct val="0"/>
              </a:spcBef>
              <a:spcAft>
                <a:spcPct val="0"/>
              </a:spcAft>
              <a:defRPr/>
            </a:pPr>
            <a:r>
              <a:rPr kumimoji="1" lang="en-US" sz="1200" b="1" dirty="0">
                <a:solidFill>
                  <a:srgbClr val="00385E">
                    <a:lumMod val="75000"/>
                    <a:lumOff val="25000"/>
                  </a:srgbClr>
                </a:solidFill>
                <a:latin typeface="Arial" panose="020B0604020202020204" pitchFamily="34" charset="0"/>
                <a:ea typeface="MS PGothic" panose="020B0600070205080204" pitchFamily="34" charset="-128"/>
                <a:cs typeface="Arial"/>
              </a:rPr>
              <a:t>Potato Production Inputs</a:t>
            </a:r>
          </a:p>
        </p:txBody>
      </p:sp>
      <p:pic>
        <p:nvPicPr>
          <p:cNvPr id="20505"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484019" y="991791"/>
            <a:ext cx="542925" cy="2357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06" name="Picture 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202782" y="1013222"/>
            <a:ext cx="535781" cy="214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1" name="Right Arrow 150"/>
          <p:cNvSpPr/>
          <p:nvPr/>
        </p:nvSpPr>
        <p:spPr bwMode="auto">
          <a:xfrm>
            <a:off x="2763441" y="2490788"/>
            <a:ext cx="309563" cy="664369"/>
          </a:xfrm>
          <a:prstGeom prst="rightArrow">
            <a:avLst/>
          </a:prstGeom>
          <a:solidFill>
            <a:schemeClr val="bg1">
              <a:lumMod val="65000"/>
              <a:alpha val="29000"/>
            </a:schemeClr>
          </a:solidFill>
          <a:ln w="9525" cap="flat" cmpd="sng" algn="ctr">
            <a:noFill/>
            <a:prstDash val="solid"/>
            <a:round/>
            <a:headEnd type="none" w="med" len="med"/>
            <a:tailEnd type="none" w="med" len="med"/>
          </a:ln>
          <a:effectLst/>
        </p:spPr>
        <p:txBody>
          <a:bodyPr lIns="68564" tIns="34282" rIns="68564" bIns="34282"/>
          <a:lstStyle/>
          <a:p>
            <a:pPr algn="ctr" defTabSz="685620" eaLnBrk="0" fontAlgn="base" hangingPunct="0">
              <a:spcBef>
                <a:spcPct val="0"/>
              </a:spcBef>
              <a:spcAft>
                <a:spcPct val="0"/>
              </a:spcAft>
              <a:defRPr/>
            </a:pPr>
            <a:endParaRPr lang="en-US" sz="812" dirty="0">
              <a:solidFill>
                <a:srgbClr val="004266"/>
              </a:solidFill>
              <a:latin typeface="Arial" panose="020B0604020202020204" pitchFamily="34" charset="0"/>
              <a:ea typeface="MS PGothic" panose="020B0600070205080204" pitchFamily="34" charset="-128"/>
              <a:cs typeface="Arial"/>
            </a:endParaRPr>
          </a:p>
        </p:txBody>
      </p:sp>
      <p:pic>
        <p:nvPicPr>
          <p:cNvPr id="20508"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08372" y="1371601"/>
            <a:ext cx="2356247" cy="16228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308372" y="3378994"/>
            <a:ext cx="2356247" cy="692497"/>
          </a:xfrm>
          <a:prstGeom prst="rect">
            <a:avLst/>
          </a:prstGeom>
          <a:noFill/>
        </p:spPr>
        <p:txBody>
          <a:bodyPr lIns="0" tIns="0" rIns="0" bIns="0">
            <a:spAutoFit/>
          </a:bodyPr>
          <a:lstStyle/>
          <a:p>
            <a:pPr marL="128588" indent="-128588" defTabSz="685800" eaLnBrk="0" fontAlgn="base" hangingPunct="0">
              <a:spcBef>
                <a:spcPct val="0"/>
              </a:spcBef>
              <a:spcAft>
                <a:spcPct val="0"/>
              </a:spcAft>
              <a:buFont typeface="Wingdings" panose="05000000000000000000" pitchFamily="2" charset="2"/>
              <a:buChar char="§"/>
              <a:defRPr/>
            </a:pPr>
            <a:r>
              <a:rPr kumimoji="1" lang="en-US" sz="900" dirty="0">
                <a:solidFill>
                  <a:srgbClr val="808080">
                    <a:lumMod val="50000"/>
                  </a:srgbClr>
                </a:solidFill>
                <a:latin typeface="Arial" panose="020B0604020202020204" pitchFamily="34" charset="0"/>
                <a:ea typeface="MS PGothic" panose="020B0600070205080204" pitchFamily="34" charset="-128"/>
                <a:cs typeface="Arial"/>
              </a:rPr>
              <a:t>IBM performs analysis on worldwide crop</a:t>
            </a:r>
          </a:p>
          <a:p>
            <a:pPr defTabSz="685800" eaLnBrk="0" fontAlgn="base" hangingPunct="0">
              <a:spcBef>
                <a:spcPct val="0"/>
              </a:spcBef>
              <a:spcAft>
                <a:spcPct val="0"/>
              </a:spcAft>
              <a:defRPr/>
            </a:pPr>
            <a:r>
              <a:rPr kumimoji="1" lang="en-US" sz="900" dirty="0">
                <a:solidFill>
                  <a:srgbClr val="808080">
                    <a:lumMod val="50000"/>
                  </a:srgbClr>
                </a:solidFill>
                <a:latin typeface="Arial" panose="020B0604020202020204" pitchFamily="34" charset="0"/>
                <a:ea typeface="MS PGothic" panose="020B0600070205080204" pitchFamily="34" charset="-128"/>
                <a:cs typeface="Arial"/>
              </a:rPr>
              <a:t>yields for potatoes</a:t>
            </a:r>
          </a:p>
          <a:p>
            <a:pPr defTabSz="685800" eaLnBrk="0" fontAlgn="base" hangingPunct="0">
              <a:spcBef>
                <a:spcPct val="0"/>
              </a:spcBef>
              <a:spcAft>
                <a:spcPct val="0"/>
              </a:spcAft>
              <a:defRPr/>
            </a:pPr>
            <a:endParaRPr kumimoji="1" lang="en-US" sz="900" dirty="0">
              <a:solidFill>
                <a:srgbClr val="808080">
                  <a:lumMod val="50000"/>
                </a:srgbClr>
              </a:solidFill>
              <a:latin typeface="Arial" panose="020B0604020202020204" pitchFamily="34" charset="0"/>
              <a:ea typeface="MS PGothic" panose="020B0600070205080204" pitchFamily="34" charset="-128"/>
              <a:cs typeface="Arial"/>
            </a:endParaRPr>
          </a:p>
          <a:p>
            <a:pPr marL="128588" indent="-128588" defTabSz="685800" eaLnBrk="0" fontAlgn="base" hangingPunct="0">
              <a:spcBef>
                <a:spcPct val="0"/>
              </a:spcBef>
              <a:spcAft>
                <a:spcPct val="0"/>
              </a:spcAft>
              <a:buFont typeface="Wingdings" panose="05000000000000000000" pitchFamily="2" charset="2"/>
              <a:buChar char="§"/>
              <a:defRPr/>
            </a:pPr>
            <a:r>
              <a:rPr kumimoji="1" lang="en-US" sz="900" dirty="0">
                <a:solidFill>
                  <a:srgbClr val="808080">
                    <a:lumMod val="50000"/>
                  </a:srgbClr>
                </a:solidFill>
                <a:latin typeface="Arial" panose="020B0604020202020204" pitchFamily="34" charset="0"/>
                <a:ea typeface="MS PGothic" panose="020B0600070205080204" pitchFamily="34" charset="-128"/>
                <a:cs typeface="Arial"/>
              </a:rPr>
              <a:t>Predicting significant market supply shortage in the next 6 -12 months</a:t>
            </a:r>
          </a:p>
        </p:txBody>
      </p:sp>
      <p:sp>
        <p:nvSpPr>
          <p:cNvPr id="154" name="TextBox 153"/>
          <p:cNvSpPr txBox="1"/>
          <p:nvPr/>
        </p:nvSpPr>
        <p:spPr bwMode="auto">
          <a:xfrm>
            <a:off x="906066" y="1017985"/>
            <a:ext cx="1239122" cy="184666"/>
          </a:xfrm>
          <a:prstGeom prst="rect">
            <a:avLst/>
          </a:prstGeom>
          <a:noFill/>
        </p:spPr>
        <p:txBody>
          <a:bodyPr wrap="none" lIns="0" tIns="0" rIns="0" bIns="0">
            <a:spAutoFit/>
          </a:bodyPr>
          <a:lstStyle/>
          <a:p>
            <a:pPr defTabSz="685800" eaLnBrk="0" fontAlgn="base" hangingPunct="0">
              <a:spcBef>
                <a:spcPct val="0"/>
              </a:spcBef>
              <a:spcAft>
                <a:spcPct val="0"/>
              </a:spcAft>
              <a:defRPr/>
            </a:pPr>
            <a:r>
              <a:rPr kumimoji="1" lang="en-US" sz="1200" b="1" dirty="0">
                <a:solidFill>
                  <a:srgbClr val="00385E">
                    <a:lumMod val="75000"/>
                    <a:lumOff val="25000"/>
                  </a:srgbClr>
                </a:solidFill>
                <a:latin typeface="Arial" panose="020B0604020202020204" pitchFamily="34" charset="0"/>
                <a:ea typeface="MS PGothic" panose="020B0600070205080204" pitchFamily="34" charset="-128"/>
                <a:cs typeface="Arial"/>
              </a:rPr>
              <a:t>Sample Scenario</a:t>
            </a:r>
          </a:p>
        </p:txBody>
      </p:sp>
      <p:pic>
        <p:nvPicPr>
          <p:cNvPr id="20511"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430066" y="1000125"/>
            <a:ext cx="542925" cy="2357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2" name="Picture 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8829" y="1021556"/>
            <a:ext cx="535781" cy="214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37947" y="3084082"/>
            <a:ext cx="1051891" cy="323165"/>
          </a:xfrm>
          <a:prstGeom prst="rect">
            <a:avLst/>
          </a:prstGeom>
          <a:noFill/>
        </p:spPr>
        <p:txBody>
          <a:bodyPr wrap="none">
            <a:spAutoFit/>
          </a:bodyPr>
          <a:lstStyle/>
          <a:p>
            <a:pPr algn="ctr" defTabSz="685800" eaLnBrk="0" fontAlgn="base" hangingPunct="0">
              <a:spcBef>
                <a:spcPct val="0"/>
              </a:spcBef>
              <a:spcAft>
                <a:spcPct val="0"/>
              </a:spcAft>
              <a:defRPr/>
            </a:pPr>
            <a:r>
              <a:rPr kumimoji="1" lang="en-US" sz="15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panose="020B0604020202020204" pitchFamily="34" charset="0"/>
                <a:ea typeface="MS PGothic" panose="020B0600070205080204" pitchFamily="34" charset="-128"/>
                <a:cs typeface="Arial"/>
              </a:rPr>
              <a:t>Illustrative</a:t>
            </a:r>
          </a:p>
        </p:txBody>
      </p:sp>
      <p:pic>
        <p:nvPicPr>
          <p:cNvPr id="20514" name="Picture 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68679" y="1422798"/>
            <a:ext cx="2284809" cy="15168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9" name="TextBox 158"/>
          <p:cNvSpPr txBox="1"/>
          <p:nvPr/>
        </p:nvSpPr>
        <p:spPr>
          <a:xfrm>
            <a:off x="6541294" y="3377804"/>
            <a:ext cx="2357438" cy="1246495"/>
          </a:xfrm>
          <a:prstGeom prst="rect">
            <a:avLst/>
          </a:prstGeom>
          <a:noFill/>
        </p:spPr>
        <p:txBody>
          <a:bodyPr lIns="0" tIns="0" rIns="0" bIns="0">
            <a:spAutoFit/>
          </a:bodyPr>
          <a:lstStyle/>
          <a:p>
            <a:pPr marL="128588" indent="-128588" defTabSz="685800" eaLnBrk="0" fontAlgn="base" hangingPunct="0">
              <a:spcBef>
                <a:spcPct val="0"/>
              </a:spcBef>
              <a:spcAft>
                <a:spcPct val="0"/>
              </a:spcAft>
              <a:buFont typeface="Wingdings" panose="05000000000000000000" pitchFamily="2" charset="2"/>
              <a:buChar char="§"/>
              <a:defRPr/>
            </a:pPr>
            <a:r>
              <a:rPr kumimoji="1" lang="en-US" sz="900" dirty="0">
                <a:solidFill>
                  <a:srgbClr val="808080">
                    <a:lumMod val="50000"/>
                  </a:srgbClr>
                </a:solidFill>
                <a:latin typeface="Arial" panose="020B0604020202020204" pitchFamily="34" charset="0"/>
                <a:ea typeface="MS PGothic" panose="020B0600070205080204" pitchFamily="34" charset="-128"/>
                <a:cs typeface="Arial"/>
              </a:rPr>
              <a:t>Strategy 1: provide daily/weekly ‘next best recommendation’ to farmers on mitigation strategy and optimal harvest time</a:t>
            </a:r>
          </a:p>
          <a:p>
            <a:pPr defTabSz="685800" eaLnBrk="0" fontAlgn="base" hangingPunct="0">
              <a:spcBef>
                <a:spcPct val="0"/>
              </a:spcBef>
              <a:spcAft>
                <a:spcPct val="0"/>
              </a:spcAft>
              <a:defRPr/>
            </a:pPr>
            <a:endParaRPr kumimoji="1" lang="en-US" sz="900" dirty="0">
              <a:solidFill>
                <a:srgbClr val="808080">
                  <a:lumMod val="50000"/>
                </a:srgbClr>
              </a:solidFill>
              <a:latin typeface="Arial" panose="020B0604020202020204" pitchFamily="34" charset="0"/>
              <a:ea typeface="MS PGothic" panose="020B0600070205080204" pitchFamily="34" charset="-128"/>
              <a:cs typeface="Arial"/>
            </a:endParaRPr>
          </a:p>
          <a:p>
            <a:pPr marL="128588" indent="-128588" defTabSz="685800" eaLnBrk="0" fontAlgn="base" hangingPunct="0">
              <a:spcBef>
                <a:spcPct val="0"/>
              </a:spcBef>
              <a:spcAft>
                <a:spcPct val="0"/>
              </a:spcAft>
              <a:buFont typeface="Wingdings" panose="05000000000000000000" pitchFamily="2" charset="2"/>
              <a:buChar char="§"/>
              <a:defRPr/>
            </a:pPr>
            <a:r>
              <a:rPr kumimoji="1" lang="en-US" sz="900" dirty="0">
                <a:solidFill>
                  <a:srgbClr val="808080">
                    <a:lumMod val="50000"/>
                  </a:srgbClr>
                </a:solidFill>
                <a:latin typeface="Arial" panose="020B0604020202020204" pitchFamily="34" charset="0"/>
                <a:ea typeface="MS PGothic" panose="020B0600070205080204" pitchFamily="34" charset="-128"/>
                <a:cs typeface="Arial"/>
              </a:rPr>
              <a:t>Strategy 2: prepare marketing campaign focused on other agriculture in portfolio</a:t>
            </a:r>
          </a:p>
          <a:p>
            <a:pPr defTabSz="685800" eaLnBrk="0" fontAlgn="base" hangingPunct="0">
              <a:spcBef>
                <a:spcPct val="0"/>
              </a:spcBef>
              <a:spcAft>
                <a:spcPct val="0"/>
              </a:spcAft>
              <a:defRPr/>
            </a:pPr>
            <a:endParaRPr kumimoji="1" lang="en-US" sz="900" dirty="0">
              <a:solidFill>
                <a:srgbClr val="808080">
                  <a:lumMod val="50000"/>
                </a:srgbClr>
              </a:solidFill>
              <a:latin typeface="Arial" panose="020B0604020202020204" pitchFamily="34" charset="0"/>
              <a:ea typeface="MS PGothic" panose="020B0600070205080204" pitchFamily="34" charset="-128"/>
              <a:cs typeface="Arial"/>
            </a:endParaRPr>
          </a:p>
          <a:p>
            <a:pPr marL="128588" indent="-128588" defTabSz="685800" eaLnBrk="0" fontAlgn="base" hangingPunct="0">
              <a:spcBef>
                <a:spcPct val="0"/>
              </a:spcBef>
              <a:spcAft>
                <a:spcPct val="0"/>
              </a:spcAft>
              <a:buFont typeface="Wingdings" panose="05000000000000000000" pitchFamily="2" charset="2"/>
              <a:buChar char="§"/>
              <a:defRPr/>
            </a:pPr>
            <a:r>
              <a:rPr kumimoji="1" lang="en-US" sz="900" dirty="0">
                <a:solidFill>
                  <a:srgbClr val="808080">
                    <a:lumMod val="50000"/>
                  </a:srgbClr>
                </a:solidFill>
                <a:latin typeface="Arial" panose="020B0604020202020204" pitchFamily="34" charset="0"/>
                <a:ea typeface="MS PGothic" panose="020B0600070205080204" pitchFamily="34" charset="-128"/>
                <a:cs typeface="Arial"/>
              </a:rPr>
              <a:t>Strategy 3: work with local farmers or tier II suppliers to increase crop yields</a:t>
            </a:r>
          </a:p>
        </p:txBody>
      </p:sp>
      <p:sp>
        <p:nvSpPr>
          <p:cNvPr id="160" name="Rectangle 159"/>
          <p:cNvSpPr/>
          <p:nvPr/>
        </p:nvSpPr>
        <p:spPr>
          <a:xfrm>
            <a:off x="6271463" y="3084082"/>
            <a:ext cx="1051891" cy="323165"/>
          </a:xfrm>
          <a:prstGeom prst="rect">
            <a:avLst/>
          </a:prstGeom>
          <a:noFill/>
        </p:spPr>
        <p:txBody>
          <a:bodyPr wrap="none">
            <a:spAutoFit/>
          </a:bodyPr>
          <a:lstStyle/>
          <a:p>
            <a:pPr algn="ctr" defTabSz="685800" eaLnBrk="0" fontAlgn="base" hangingPunct="0">
              <a:spcBef>
                <a:spcPct val="0"/>
              </a:spcBef>
              <a:spcAft>
                <a:spcPct val="0"/>
              </a:spcAft>
              <a:defRPr/>
            </a:pPr>
            <a:r>
              <a:rPr kumimoji="1" lang="en-US" sz="15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panose="020B0604020202020204" pitchFamily="34" charset="0"/>
                <a:ea typeface="MS PGothic" panose="020B0600070205080204" pitchFamily="34" charset="-128"/>
                <a:cs typeface="Arial"/>
              </a:rPr>
              <a:t>Illustrative</a:t>
            </a:r>
          </a:p>
        </p:txBody>
      </p:sp>
      <p:sp>
        <p:nvSpPr>
          <p:cNvPr id="166" name="TextBox 165"/>
          <p:cNvSpPr txBox="1"/>
          <p:nvPr/>
        </p:nvSpPr>
        <p:spPr bwMode="auto">
          <a:xfrm>
            <a:off x="6908006" y="998935"/>
            <a:ext cx="1514838" cy="184666"/>
          </a:xfrm>
          <a:prstGeom prst="rect">
            <a:avLst/>
          </a:prstGeom>
          <a:noFill/>
        </p:spPr>
        <p:txBody>
          <a:bodyPr wrap="none" lIns="0" tIns="0" rIns="0" bIns="0">
            <a:spAutoFit/>
          </a:bodyPr>
          <a:lstStyle/>
          <a:p>
            <a:pPr defTabSz="685800" eaLnBrk="0" fontAlgn="base" hangingPunct="0">
              <a:spcBef>
                <a:spcPct val="0"/>
              </a:spcBef>
              <a:spcAft>
                <a:spcPct val="0"/>
              </a:spcAft>
              <a:defRPr/>
            </a:pPr>
            <a:r>
              <a:rPr kumimoji="1" lang="en-US" sz="1200" b="1" dirty="0">
                <a:solidFill>
                  <a:srgbClr val="00385E">
                    <a:lumMod val="75000"/>
                    <a:lumOff val="25000"/>
                  </a:srgbClr>
                </a:solidFill>
                <a:latin typeface="Arial" panose="020B0604020202020204" pitchFamily="34" charset="0"/>
                <a:ea typeface="MS PGothic" panose="020B0600070205080204" pitchFamily="34" charset="-128"/>
                <a:cs typeface="Arial"/>
              </a:rPr>
              <a:t>Mitigation Strategies</a:t>
            </a:r>
          </a:p>
        </p:txBody>
      </p:sp>
      <p:pic>
        <p:nvPicPr>
          <p:cNvPr id="20518"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37972" y="981075"/>
            <a:ext cx="542925" cy="2357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9" name="Picture 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256735" y="1002506"/>
            <a:ext cx="535781" cy="214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5" name="Right Arrow 174"/>
          <p:cNvSpPr/>
          <p:nvPr/>
        </p:nvSpPr>
        <p:spPr bwMode="auto">
          <a:xfrm>
            <a:off x="6050757" y="2490788"/>
            <a:ext cx="308372" cy="664369"/>
          </a:xfrm>
          <a:prstGeom prst="rightArrow">
            <a:avLst/>
          </a:prstGeom>
          <a:solidFill>
            <a:schemeClr val="bg1">
              <a:lumMod val="65000"/>
              <a:alpha val="29000"/>
            </a:schemeClr>
          </a:solidFill>
          <a:ln w="9525" cap="flat" cmpd="sng" algn="ctr">
            <a:noFill/>
            <a:prstDash val="solid"/>
            <a:round/>
            <a:headEnd type="none" w="med" len="med"/>
            <a:tailEnd type="none" w="med" len="med"/>
          </a:ln>
          <a:effectLst/>
        </p:spPr>
        <p:txBody>
          <a:bodyPr lIns="68564" tIns="34282" rIns="68564" bIns="34282"/>
          <a:lstStyle/>
          <a:p>
            <a:pPr algn="ctr" defTabSz="685620" eaLnBrk="0" fontAlgn="base" hangingPunct="0">
              <a:spcBef>
                <a:spcPct val="0"/>
              </a:spcBef>
              <a:spcAft>
                <a:spcPct val="0"/>
              </a:spcAft>
              <a:defRPr/>
            </a:pPr>
            <a:endParaRPr lang="en-US" sz="812" dirty="0">
              <a:solidFill>
                <a:srgbClr val="004266"/>
              </a:solidFill>
              <a:latin typeface="Arial" panose="020B0604020202020204" pitchFamily="34" charset="0"/>
              <a:ea typeface="MS PGothic" panose="020B0600070205080204" pitchFamily="34" charset="-128"/>
              <a:cs typeface="Arial"/>
            </a:endParaRPr>
          </a:p>
        </p:txBody>
      </p:sp>
      <p:sp>
        <p:nvSpPr>
          <p:cNvPr id="42" name="Title 2"/>
          <p:cNvSpPr txBox="1">
            <a:spLocks/>
          </p:cNvSpPr>
          <p:nvPr/>
        </p:nvSpPr>
        <p:spPr bwMode="auto">
          <a:xfrm>
            <a:off x="329804" y="432198"/>
            <a:ext cx="8229600" cy="386953"/>
          </a:xfrm>
          <a:prstGeom prst="rect">
            <a:avLst/>
          </a:prstGeom>
        </p:spPr>
        <p:txBody>
          <a:bodyPr lIns="0" tIns="0" rIns="0" bIns="0" anchor="ctr"/>
          <a:lstStyle>
            <a:defPPr>
              <a:defRPr lang="en-US"/>
            </a:defPPr>
            <a:lvl1pPr>
              <a:lnSpc>
                <a:spcPct val="90000"/>
              </a:lnSpc>
              <a:defRPr sz="2133">
                <a:solidFill>
                  <a:schemeClr val="bg2"/>
                </a:solidFill>
                <a:latin typeface="Calibri" panose="020F0502020204030204" pitchFamily="34" charset="0"/>
                <a:cs typeface="HelvNeue Light for IBM"/>
              </a:defRPr>
            </a:lvl1pPr>
            <a:lvl2pPr>
              <a:lnSpc>
                <a:spcPct val="90000"/>
              </a:lnSpc>
              <a:defRPr sz="2800"/>
            </a:lvl2pPr>
            <a:lvl3pPr>
              <a:lnSpc>
                <a:spcPct val="90000"/>
              </a:lnSpc>
              <a:defRPr sz="2800"/>
            </a:lvl3pPr>
            <a:lvl4pPr>
              <a:lnSpc>
                <a:spcPct val="90000"/>
              </a:lnSpc>
              <a:defRPr sz="2800"/>
            </a:lvl4pPr>
            <a:lvl5pPr>
              <a:lnSpc>
                <a:spcPct val="90000"/>
              </a:lnSpc>
              <a:defRPr sz="2800"/>
            </a:lvl5pPr>
            <a:lvl6pPr marL="457200" fontAlgn="base">
              <a:lnSpc>
                <a:spcPct val="90000"/>
              </a:lnSpc>
              <a:spcBef>
                <a:spcPct val="0"/>
              </a:spcBef>
              <a:spcAft>
                <a:spcPct val="0"/>
              </a:spcAft>
              <a:defRPr sz="2800"/>
            </a:lvl6pPr>
            <a:lvl7pPr marL="914400" fontAlgn="base">
              <a:lnSpc>
                <a:spcPct val="90000"/>
              </a:lnSpc>
              <a:spcBef>
                <a:spcPct val="0"/>
              </a:spcBef>
              <a:spcAft>
                <a:spcPct val="0"/>
              </a:spcAft>
              <a:defRPr sz="2800"/>
            </a:lvl7pPr>
            <a:lvl8pPr marL="1371600" fontAlgn="base">
              <a:lnSpc>
                <a:spcPct val="90000"/>
              </a:lnSpc>
              <a:spcBef>
                <a:spcPct val="0"/>
              </a:spcBef>
              <a:spcAft>
                <a:spcPct val="0"/>
              </a:spcAft>
              <a:defRPr sz="2800"/>
            </a:lvl8pPr>
            <a:lvl9pPr marL="1828800" fontAlgn="base">
              <a:lnSpc>
                <a:spcPct val="90000"/>
              </a:lnSpc>
              <a:spcBef>
                <a:spcPct val="0"/>
              </a:spcBef>
              <a:spcAft>
                <a:spcPct val="0"/>
              </a:spcAft>
              <a:defRPr sz="2800"/>
            </a:lvl9pPr>
          </a:lstStyle>
          <a:p>
            <a:pPr defTabSz="685800" eaLnBrk="0" fontAlgn="base" hangingPunct="0">
              <a:spcBef>
                <a:spcPct val="0"/>
              </a:spcBef>
              <a:spcAft>
                <a:spcPct val="0"/>
              </a:spcAft>
              <a:defRPr/>
            </a:pPr>
            <a:r>
              <a:rPr kumimoji="1" lang="en-US" sz="1600" dirty="0">
                <a:solidFill>
                  <a:srgbClr val="808080"/>
                </a:solidFill>
                <a:ea typeface="MS PGothic" panose="020B0600070205080204" pitchFamily="34" charset="-128"/>
                <a:sym typeface="Helvetica Light"/>
              </a:rPr>
              <a:t>Potato sample use case with IBM advanced analytics recommendations engine</a:t>
            </a:r>
          </a:p>
        </p:txBody>
      </p:sp>
    </p:spTree>
    <p:extLst>
      <p:ext uri="{BB962C8B-B14F-4D97-AF65-F5344CB8AC3E}">
        <p14:creationId xmlns:p14="http://schemas.microsoft.com/office/powerpoint/2010/main" val="48423057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1"/>
          <p:cNvPicPr>
            <a:picLocks noChangeAspect="1" noChangeArrowheads="1"/>
          </p:cNvPicPr>
          <p:nvPr/>
        </p:nvPicPr>
        <p:blipFill>
          <a:blip r:embed="rId3">
            <a:extLst>
              <a:ext uri="{28A0092B-C50C-407E-A947-70E740481C1C}">
                <a14:useLocalDpi xmlns:a14="http://schemas.microsoft.com/office/drawing/2010/main" val="0"/>
              </a:ext>
            </a:extLst>
          </a:blip>
          <a:srcRect l="12918" t="16966" r="15086" b="35338"/>
          <a:stretch>
            <a:fillRect/>
          </a:stretch>
        </p:blipFill>
        <p:spPr bwMode="auto">
          <a:xfrm>
            <a:off x="3148013" y="3212306"/>
            <a:ext cx="5509022" cy="2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3" name="Text Box 2"/>
          <p:cNvSpPr txBox="1">
            <a:spLocks noChangeArrowheads="1"/>
          </p:cNvSpPr>
          <p:nvPr/>
        </p:nvSpPr>
        <p:spPr bwMode="auto">
          <a:xfrm>
            <a:off x="2425304" y="529828"/>
            <a:ext cx="6582965" cy="756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251" tIns="34125" rIns="68251" bIns="34125"/>
          <a:lstStyle>
            <a:lvl1pPr>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1pPr>
            <a:lvl2pPr marL="742950" indent="-285750">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2pPr>
            <a:lvl3pPr marL="1143000" indent="-228600">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3pPr>
            <a:lvl4pPr marL="1600200" indent="-228600">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4pPr>
            <a:lvl5pPr marL="2057400" indent="-228600">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9pPr>
          </a:lstStyle>
          <a:p>
            <a:pPr defTabSz="685800" eaLnBrk="0" fontAlgn="base" hangingPunct="0">
              <a:spcBef>
                <a:spcPct val="0"/>
              </a:spcBef>
              <a:spcAft>
                <a:spcPct val="0"/>
              </a:spcAft>
              <a:tabLst>
                <a:tab pos="0" algn="l"/>
                <a:tab pos="682229" algn="l"/>
                <a:tab pos="1364456" algn="l"/>
                <a:tab pos="2046685" algn="l"/>
                <a:tab pos="2730104" algn="l"/>
                <a:tab pos="3412331" algn="l"/>
                <a:tab pos="4094560" algn="l"/>
                <a:tab pos="4776788" algn="l"/>
                <a:tab pos="5460206" algn="l"/>
                <a:tab pos="6142435" algn="l"/>
                <a:tab pos="6824663" algn="l"/>
                <a:tab pos="7506891" algn="l"/>
              </a:tabLst>
              <a:defRPr/>
            </a:pPr>
            <a:r>
              <a:rPr lang="en-US" altLang="en-US" sz="1600" dirty="0">
                <a:solidFill>
                  <a:srgbClr val="808080"/>
                </a:solidFill>
                <a:latin typeface="Calibri" panose="020F0502020204030204" pitchFamily="34" charset="0"/>
                <a:cs typeface="HelvNeue Light for IBM"/>
              </a:rPr>
              <a:t>Scalable Analytics:  Improving crop yield and quality while reducing water consumption in the vineyard</a:t>
            </a:r>
          </a:p>
        </p:txBody>
      </p:sp>
      <p:sp>
        <p:nvSpPr>
          <p:cNvPr id="22532" name="Text Box 6"/>
          <p:cNvSpPr txBox="1">
            <a:spLocks noChangeArrowheads="1"/>
          </p:cNvSpPr>
          <p:nvPr/>
        </p:nvSpPr>
        <p:spPr bwMode="auto">
          <a:xfrm>
            <a:off x="4038600" y="2909888"/>
            <a:ext cx="1005842" cy="260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50382" tIns="26199" rIns="50382" bIns="26199">
            <a:spAutoFit/>
          </a:bodyPr>
          <a:lstStyle>
            <a:lvl1pPr>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1pPr>
            <a:lvl2pPr marL="742950" indent="-285750">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2pPr>
            <a:lvl3pPr marL="1143000" indent="-228600">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3pPr>
            <a:lvl4pPr marL="1600200" indent="-228600">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4pPr>
            <a:lvl5pPr marL="2057400" indent="-228600">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9pPr>
          </a:lstStyle>
          <a:p>
            <a:pPr defTabSz="685800" eaLnBrk="0" fontAlgn="base" hangingPunct="0">
              <a:spcBef>
                <a:spcPct val="0"/>
              </a:spcBef>
              <a:spcAft>
                <a:spcPct val="0"/>
              </a:spcAft>
              <a:tabLst>
                <a:tab pos="0" algn="l"/>
                <a:tab pos="682229" algn="l"/>
                <a:tab pos="1364456" algn="l"/>
                <a:tab pos="2046685" algn="l"/>
                <a:tab pos="2730104" algn="l"/>
                <a:tab pos="3412331" algn="l"/>
                <a:tab pos="4094560" algn="l"/>
                <a:tab pos="4776788" algn="l"/>
                <a:tab pos="5460206" algn="l"/>
                <a:tab pos="6142435" algn="l"/>
                <a:tab pos="6824663" algn="l"/>
                <a:tab pos="7506891" algn="l"/>
              </a:tabLst>
            </a:pPr>
            <a:r>
              <a:rPr lang="en-US" altLang="en-US" sz="1350" b="1">
                <a:solidFill>
                  <a:srgbClr val="051CB4"/>
                </a:solidFill>
                <a:latin typeface="Verdana" panose="020B0604030504040204" pitchFamily="34" charset="0"/>
                <a:cs typeface="Arial"/>
              </a:rPr>
              <a:t>Results:  </a:t>
            </a:r>
            <a:endParaRPr lang="en-US" altLang="en-US" sz="1350">
              <a:solidFill>
                <a:srgbClr val="000066"/>
              </a:solidFill>
              <a:latin typeface="Verdana" panose="020B0604030504040204" pitchFamily="34" charset="0"/>
              <a:cs typeface="Arial"/>
            </a:endParaRPr>
          </a:p>
        </p:txBody>
      </p:sp>
      <p:sp>
        <p:nvSpPr>
          <p:cNvPr id="22533" name="Text Box 7"/>
          <p:cNvSpPr txBox="1">
            <a:spLocks noChangeArrowheads="1"/>
          </p:cNvSpPr>
          <p:nvPr/>
        </p:nvSpPr>
        <p:spPr bwMode="auto">
          <a:xfrm>
            <a:off x="458391" y="1446610"/>
            <a:ext cx="1523612" cy="260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50382" tIns="26199" rIns="50382" bIns="26199">
            <a:spAutoFit/>
          </a:bodyPr>
          <a:lstStyle>
            <a:lvl1pPr>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1pPr>
            <a:lvl2pPr marL="742950" indent="-285750">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2pPr>
            <a:lvl3pPr marL="1143000" indent="-228600">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3pPr>
            <a:lvl4pPr marL="1600200" indent="-228600">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4pPr>
            <a:lvl5pPr marL="2057400" indent="-228600">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9pPr>
          </a:lstStyle>
          <a:p>
            <a:pPr defTabSz="685800" eaLnBrk="0" fontAlgn="base" hangingPunct="0">
              <a:spcBef>
                <a:spcPct val="0"/>
              </a:spcBef>
              <a:spcAft>
                <a:spcPct val="0"/>
              </a:spcAft>
              <a:tabLst>
                <a:tab pos="0" algn="l"/>
                <a:tab pos="682229" algn="l"/>
                <a:tab pos="1364456" algn="l"/>
                <a:tab pos="2046685" algn="l"/>
                <a:tab pos="2730104" algn="l"/>
                <a:tab pos="3412331" algn="l"/>
                <a:tab pos="4094560" algn="l"/>
                <a:tab pos="4776788" algn="l"/>
                <a:tab pos="5460206" algn="l"/>
                <a:tab pos="6142435" algn="l"/>
                <a:tab pos="6824663" algn="l"/>
                <a:tab pos="7506891" algn="l"/>
              </a:tabLst>
            </a:pPr>
            <a:r>
              <a:rPr lang="en-US" altLang="en-US" sz="1350" b="1">
                <a:solidFill>
                  <a:srgbClr val="051CB4"/>
                </a:solidFill>
                <a:latin typeface="Verdana" panose="020B0604030504040204" pitchFamily="34" charset="0"/>
                <a:cs typeface="Arial"/>
              </a:rPr>
              <a:t>The challenge:</a:t>
            </a:r>
          </a:p>
        </p:txBody>
      </p:sp>
      <p:sp>
        <p:nvSpPr>
          <p:cNvPr id="12299" name="Text Box 10"/>
          <p:cNvSpPr txBox="1">
            <a:spLocks noChangeArrowheads="1"/>
          </p:cNvSpPr>
          <p:nvPr/>
        </p:nvSpPr>
        <p:spPr bwMode="auto">
          <a:xfrm flipH="1">
            <a:off x="458391" y="1857376"/>
            <a:ext cx="3378994" cy="880829"/>
          </a:xfrm>
          <a:prstGeom prst="rect">
            <a:avLst/>
          </a:prstGeom>
          <a:noFill/>
          <a:ln>
            <a:noFill/>
          </a:ln>
          <a:effectLst/>
          <a:extLst/>
        </p:spPr>
        <p:txBody>
          <a:bodyPr lIns="50382" tIns="26199" rIns="50382" bIns="26199">
            <a:spAutoFit/>
          </a:bodyPr>
          <a:lstStyle>
            <a:lvl1pPr marL="228600" indent="-228600" eaLnBrk="0" hangingPunct="0">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1pPr>
            <a:lvl2pPr marL="742950" indent="-285750" eaLnBrk="0" hangingPunct="0">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2pPr>
            <a:lvl3pPr marL="1143000" indent="-228600" eaLnBrk="0" hangingPunct="0">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3pPr>
            <a:lvl4pPr marL="1600200" indent="-228600" eaLnBrk="0" hangingPunct="0">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4pPr>
            <a:lvl5pPr marL="2057400" indent="-228600" eaLnBrk="0" hangingPunct="0">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9pPr>
          </a:lstStyle>
          <a:p>
            <a:pPr marL="171450" indent="-171450" defTabSz="685800" eaLnBrk="1" hangingPunct="1">
              <a:spcBef>
                <a:spcPts val="112"/>
              </a:spcBef>
              <a:buFont typeface="Wingdings" charset="0"/>
              <a:buChar char=""/>
              <a:tabLst>
                <a:tab pos="171450" algn="l"/>
                <a:tab pos="857250" algn="l"/>
                <a:tab pos="1543050" algn="l"/>
                <a:tab pos="2228850" algn="l"/>
                <a:tab pos="2914650" algn="l"/>
                <a:tab pos="3600450" algn="l"/>
                <a:tab pos="4286250" algn="l"/>
                <a:tab pos="4972050" algn="l"/>
                <a:tab pos="5657850" algn="l"/>
                <a:tab pos="6343650" algn="l"/>
                <a:tab pos="7029450" algn="l"/>
                <a:tab pos="7715250" algn="l"/>
              </a:tabLst>
              <a:defRPr/>
            </a:pPr>
            <a:r>
              <a:rPr kumimoji="1" lang="en-US" sz="1324" dirty="0">
                <a:solidFill>
                  <a:srgbClr val="000000"/>
                </a:solidFill>
                <a:latin typeface="Verdana" charset="0"/>
              </a:rPr>
              <a:t>Improve Crop yields and grape quality by precision irrigation solution</a:t>
            </a:r>
          </a:p>
          <a:p>
            <a:pPr marL="171450" indent="-171450" defTabSz="685800" eaLnBrk="1" hangingPunct="1">
              <a:spcBef>
                <a:spcPts val="112"/>
              </a:spcBef>
              <a:buFont typeface="Wingdings" charset="0"/>
              <a:buChar char=""/>
              <a:tabLst>
                <a:tab pos="171450" algn="l"/>
                <a:tab pos="857250" algn="l"/>
                <a:tab pos="1543050" algn="l"/>
                <a:tab pos="2228850" algn="l"/>
                <a:tab pos="2914650" algn="l"/>
                <a:tab pos="3600450" algn="l"/>
                <a:tab pos="4286250" algn="l"/>
                <a:tab pos="4972050" algn="l"/>
                <a:tab pos="5657850" algn="l"/>
                <a:tab pos="6343650" algn="l"/>
                <a:tab pos="7029450" algn="l"/>
                <a:tab pos="7715250" algn="l"/>
              </a:tabLst>
              <a:defRPr/>
            </a:pPr>
            <a:r>
              <a:rPr kumimoji="1" lang="en-US" sz="1324" dirty="0">
                <a:solidFill>
                  <a:srgbClr val="000000"/>
                </a:solidFill>
                <a:latin typeface="Verdana" charset="0"/>
              </a:rPr>
              <a:t>Conserve water due to drought</a:t>
            </a:r>
          </a:p>
        </p:txBody>
      </p:sp>
      <p:pic>
        <p:nvPicPr>
          <p:cNvPr id="22535" name="Picture 15" descr="gallo_logo.jpg"/>
          <p:cNvPicPr>
            <a:picLocks noChangeAspect="1"/>
          </p:cNvPicPr>
          <p:nvPr/>
        </p:nvPicPr>
        <p:blipFill>
          <a:blip r:embed="rId4" cstate="print">
            <a:extLst>
              <a:ext uri="{28A0092B-C50C-407E-A947-70E740481C1C}">
                <a14:useLocalDpi xmlns:a14="http://schemas.microsoft.com/office/drawing/2010/main" val="0"/>
              </a:ext>
            </a:extLst>
          </a:blip>
          <a:srcRect t="6107"/>
          <a:stretch>
            <a:fillRect/>
          </a:stretch>
        </p:blipFill>
        <p:spPr bwMode="auto">
          <a:xfrm>
            <a:off x="279798" y="504826"/>
            <a:ext cx="1916906" cy="870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 Box 10"/>
          <p:cNvSpPr txBox="1">
            <a:spLocks noChangeArrowheads="1"/>
          </p:cNvSpPr>
          <p:nvPr/>
        </p:nvSpPr>
        <p:spPr bwMode="auto">
          <a:xfrm flipH="1">
            <a:off x="458391" y="2945607"/>
            <a:ext cx="2824163" cy="893653"/>
          </a:xfrm>
          <a:prstGeom prst="rect">
            <a:avLst/>
          </a:prstGeom>
          <a:noFill/>
          <a:ln>
            <a:noFill/>
          </a:ln>
          <a:effectLst/>
          <a:extLst/>
        </p:spPr>
        <p:txBody>
          <a:bodyPr lIns="50382" tIns="26199" rIns="50382" bIns="26199">
            <a:spAutoFit/>
          </a:bodyPr>
          <a:lstStyle>
            <a:lvl1pPr marL="228600" indent="-228600" eaLnBrk="0" hangingPunct="0">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1pPr>
            <a:lvl2pPr marL="742950" indent="-285750" eaLnBrk="0" hangingPunct="0">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2pPr>
            <a:lvl3pPr marL="1143000" indent="-228600" eaLnBrk="0" hangingPunct="0">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3pPr>
            <a:lvl4pPr marL="1600200" indent="-228600" eaLnBrk="0" hangingPunct="0">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4pPr>
            <a:lvl5pPr marL="2057400" indent="-228600" eaLnBrk="0" hangingPunct="0">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9pPr>
          </a:lstStyle>
          <a:p>
            <a:pPr marL="171450" indent="-171450" defTabSz="685800" eaLnBrk="1" hangingPunct="1">
              <a:spcBef>
                <a:spcPts val="112"/>
              </a:spcBef>
              <a:buFont typeface="Wingdings" charset="0"/>
              <a:buChar char=""/>
              <a:tabLst>
                <a:tab pos="171450" algn="l"/>
                <a:tab pos="857250" algn="l"/>
                <a:tab pos="1543050" algn="l"/>
                <a:tab pos="2228850" algn="l"/>
                <a:tab pos="2914650" algn="l"/>
                <a:tab pos="3600450" algn="l"/>
                <a:tab pos="4286250" algn="l"/>
                <a:tab pos="4972050" algn="l"/>
                <a:tab pos="5657850" algn="l"/>
                <a:tab pos="6343650" algn="l"/>
                <a:tab pos="7029450" algn="l"/>
                <a:tab pos="7715250" algn="l"/>
              </a:tabLst>
              <a:defRPr/>
            </a:pPr>
            <a:r>
              <a:rPr kumimoji="1" lang="en-US" sz="1324" dirty="0">
                <a:solidFill>
                  <a:srgbClr val="000000"/>
                </a:solidFill>
                <a:latin typeface="Verdana" charset="0"/>
              </a:rPr>
              <a:t>Increased Yield 23%</a:t>
            </a:r>
          </a:p>
          <a:p>
            <a:pPr marL="171450" indent="-171450" defTabSz="685800" eaLnBrk="1" hangingPunct="1">
              <a:spcBef>
                <a:spcPts val="112"/>
              </a:spcBef>
              <a:buFont typeface="Wingdings" charset="0"/>
              <a:buChar char=""/>
              <a:tabLst>
                <a:tab pos="171450" algn="l"/>
                <a:tab pos="857250" algn="l"/>
                <a:tab pos="1543050" algn="l"/>
                <a:tab pos="2228850" algn="l"/>
                <a:tab pos="2914650" algn="l"/>
                <a:tab pos="3600450" algn="l"/>
                <a:tab pos="4286250" algn="l"/>
                <a:tab pos="4972050" algn="l"/>
                <a:tab pos="5657850" algn="l"/>
                <a:tab pos="6343650" algn="l"/>
                <a:tab pos="7029450" algn="l"/>
                <a:tab pos="7715250" algn="l"/>
              </a:tabLst>
              <a:defRPr/>
            </a:pPr>
            <a:r>
              <a:rPr kumimoji="1" lang="en-US" sz="1324" dirty="0">
                <a:solidFill>
                  <a:srgbClr val="000000"/>
                </a:solidFill>
                <a:latin typeface="Verdana" charset="0"/>
              </a:rPr>
              <a:t>Water conservation 20%</a:t>
            </a:r>
          </a:p>
          <a:p>
            <a:pPr marL="171450" indent="-171450" defTabSz="685800" eaLnBrk="1" hangingPunct="1">
              <a:spcBef>
                <a:spcPts val="112"/>
              </a:spcBef>
              <a:buFont typeface="Wingdings" charset="0"/>
              <a:buChar char=""/>
              <a:tabLst>
                <a:tab pos="171450" algn="l"/>
                <a:tab pos="857250" algn="l"/>
                <a:tab pos="1543050" algn="l"/>
                <a:tab pos="2228850" algn="l"/>
                <a:tab pos="2914650" algn="l"/>
                <a:tab pos="3600450" algn="l"/>
                <a:tab pos="4286250" algn="l"/>
                <a:tab pos="4972050" algn="l"/>
                <a:tab pos="5657850" algn="l"/>
                <a:tab pos="6343650" algn="l"/>
                <a:tab pos="7029450" algn="l"/>
                <a:tab pos="7715250" algn="l"/>
              </a:tabLst>
              <a:defRPr/>
            </a:pPr>
            <a:r>
              <a:rPr kumimoji="1" lang="en-US" sz="1324" dirty="0">
                <a:solidFill>
                  <a:srgbClr val="000000"/>
                </a:solidFill>
                <a:latin typeface="Verdana" charset="0"/>
              </a:rPr>
              <a:t>Reduced variability, 10% higher grape quality</a:t>
            </a:r>
          </a:p>
        </p:txBody>
      </p:sp>
      <p:sp>
        <p:nvSpPr>
          <p:cNvPr id="22537" name="Text Box 6"/>
          <p:cNvSpPr txBox="1">
            <a:spLocks noChangeArrowheads="1"/>
          </p:cNvSpPr>
          <p:nvPr/>
        </p:nvSpPr>
        <p:spPr bwMode="auto">
          <a:xfrm>
            <a:off x="4139804" y="1446610"/>
            <a:ext cx="1034696" cy="260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50382" tIns="26199" rIns="50382" bIns="26199">
            <a:spAutoFit/>
          </a:bodyPr>
          <a:lstStyle>
            <a:lvl1pPr>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1pPr>
            <a:lvl2pPr marL="742950" indent="-285750">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2pPr>
            <a:lvl3pPr marL="1143000" indent="-228600">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3pPr>
            <a:lvl4pPr marL="1600200" indent="-228600">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4pPr>
            <a:lvl5pPr marL="2057400" indent="-228600">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9pPr>
          </a:lstStyle>
          <a:p>
            <a:pPr defTabSz="685800" eaLnBrk="0" fontAlgn="base" hangingPunct="0">
              <a:spcBef>
                <a:spcPct val="0"/>
              </a:spcBef>
              <a:spcAft>
                <a:spcPct val="0"/>
              </a:spcAft>
              <a:tabLst>
                <a:tab pos="0" algn="l"/>
                <a:tab pos="682229" algn="l"/>
                <a:tab pos="1364456" algn="l"/>
                <a:tab pos="2046685" algn="l"/>
                <a:tab pos="2730104" algn="l"/>
                <a:tab pos="3412331" algn="l"/>
                <a:tab pos="4094560" algn="l"/>
                <a:tab pos="4776788" algn="l"/>
                <a:tab pos="5460206" algn="l"/>
                <a:tab pos="6142435" algn="l"/>
                <a:tab pos="6824663" algn="l"/>
                <a:tab pos="7506891" algn="l"/>
              </a:tabLst>
            </a:pPr>
            <a:r>
              <a:rPr lang="en-US" altLang="en-US" sz="1350" b="1">
                <a:solidFill>
                  <a:srgbClr val="051CB4"/>
                </a:solidFill>
                <a:latin typeface="Verdana" panose="020B0604030504040204" pitchFamily="34" charset="0"/>
                <a:cs typeface="Arial"/>
              </a:rPr>
              <a:t>Solution: </a:t>
            </a:r>
            <a:endParaRPr lang="en-US" altLang="en-US" sz="1350">
              <a:solidFill>
                <a:srgbClr val="000066"/>
              </a:solidFill>
              <a:latin typeface="Verdana" panose="020B0604030504040204" pitchFamily="34" charset="0"/>
              <a:cs typeface="Arial"/>
            </a:endParaRPr>
          </a:p>
        </p:txBody>
      </p:sp>
      <p:sp>
        <p:nvSpPr>
          <p:cNvPr id="22" name="Text Box 10"/>
          <p:cNvSpPr txBox="1">
            <a:spLocks noChangeArrowheads="1"/>
          </p:cNvSpPr>
          <p:nvPr/>
        </p:nvSpPr>
        <p:spPr bwMode="auto">
          <a:xfrm flipH="1">
            <a:off x="3988594" y="1850232"/>
            <a:ext cx="3983831" cy="868005"/>
          </a:xfrm>
          <a:prstGeom prst="rect">
            <a:avLst/>
          </a:prstGeom>
          <a:noFill/>
          <a:ln>
            <a:noFill/>
          </a:ln>
          <a:effectLst/>
          <a:extLst/>
        </p:spPr>
        <p:txBody>
          <a:bodyPr lIns="50382" tIns="26199" rIns="50382" bIns="26199">
            <a:spAutoFit/>
          </a:bodyPr>
          <a:lstStyle>
            <a:lvl1pPr marL="228600" indent="-228600" eaLnBrk="0" hangingPunct="0">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1pPr>
            <a:lvl2pPr marL="742950" indent="-285750" eaLnBrk="0" hangingPunct="0">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2pPr>
            <a:lvl3pPr marL="1143000" indent="-228600" eaLnBrk="0" hangingPunct="0">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3pPr>
            <a:lvl4pPr marL="1600200" indent="-228600" eaLnBrk="0" hangingPunct="0">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4pPr>
            <a:lvl5pPr marL="2057400" indent="-228600" eaLnBrk="0" hangingPunct="0">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tabLst>
                <a:tab pos="228600" algn="l"/>
                <a:tab pos="1143000" algn="l"/>
                <a:tab pos="2057400" algn="l"/>
                <a:tab pos="2971800" algn="l"/>
                <a:tab pos="3886200" algn="l"/>
                <a:tab pos="4800600" algn="l"/>
                <a:tab pos="5715000" algn="l"/>
                <a:tab pos="6629400" algn="l"/>
                <a:tab pos="7543800" algn="l"/>
                <a:tab pos="8458200" algn="l"/>
                <a:tab pos="9372600" algn="l"/>
                <a:tab pos="10287000" algn="l"/>
              </a:tabLst>
              <a:defRPr>
                <a:solidFill>
                  <a:schemeClr val="tx1"/>
                </a:solidFill>
                <a:latin typeface="Arial" charset="0"/>
                <a:ea typeface="MS PGothic" charset="0"/>
                <a:cs typeface="MS PGothic" charset="0"/>
              </a:defRPr>
            </a:lvl9pPr>
          </a:lstStyle>
          <a:p>
            <a:pPr marL="171450" indent="-171450" defTabSz="685800" eaLnBrk="1" fontAlgn="base" hangingPunct="1">
              <a:spcBef>
                <a:spcPct val="0"/>
              </a:spcBef>
              <a:spcAft>
                <a:spcPct val="0"/>
              </a:spcAft>
              <a:buFont typeface="Arial" pitchFamily="34" charset="0"/>
              <a:buChar char="•"/>
              <a:tabLst>
                <a:tab pos="171450" algn="l"/>
                <a:tab pos="857250" algn="l"/>
                <a:tab pos="1543050" algn="l"/>
                <a:tab pos="2228850" algn="l"/>
                <a:tab pos="2914650" algn="l"/>
                <a:tab pos="3600450" algn="l"/>
                <a:tab pos="4286250" algn="l"/>
                <a:tab pos="4972050" algn="l"/>
                <a:tab pos="5657850" algn="l"/>
                <a:tab pos="6343650" algn="l"/>
                <a:tab pos="7029450" algn="l"/>
                <a:tab pos="7715250" algn="l"/>
              </a:tabLst>
              <a:defRPr/>
            </a:pPr>
            <a:r>
              <a:rPr kumimoji="1" lang="en-US" altLang="en-US" sz="1324" dirty="0">
                <a:solidFill>
                  <a:srgbClr val="000000"/>
                </a:solidFill>
                <a:latin typeface="Verdana" pitchFamily="34" charset="0"/>
                <a:ea typeface="Verdana" pitchFamily="34" charset="0"/>
                <a:cs typeface="Verdana" pitchFamily="34" charset="0"/>
              </a:rPr>
              <a:t>Remote Satellite image processing for normalized vegetation index (NDVI)</a:t>
            </a:r>
          </a:p>
          <a:p>
            <a:pPr marL="171450" indent="-171450" defTabSz="685800" eaLnBrk="1" fontAlgn="base" hangingPunct="1">
              <a:spcBef>
                <a:spcPct val="0"/>
              </a:spcBef>
              <a:spcAft>
                <a:spcPct val="0"/>
              </a:spcAft>
              <a:buFont typeface="Arial" pitchFamily="34" charset="0"/>
              <a:buChar char="•"/>
              <a:tabLst>
                <a:tab pos="171450" algn="l"/>
                <a:tab pos="857250" algn="l"/>
                <a:tab pos="1543050" algn="l"/>
                <a:tab pos="2228850" algn="l"/>
                <a:tab pos="2914650" algn="l"/>
                <a:tab pos="3600450" algn="l"/>
                <a:tab pos="4286250" algn="l"/>
                <a:tab pos="4972050" algn="l"/>
                <a:tab pos="5657850" algn="l"/>
                <a:tab pos="6343650" algn="l"/>
                <a:tab pos="7029450" algn="l"/>
                <a:tab pos="7715250" algn="l"/>
              </a:tabLst>
              <a:defRPr/>
            </a:pPr>
            <a:r>
              <a:rPr kumimoji="1" lang="en-US" altLang="en-US" sz="1324" dirty="0" err="1">
                <a:solidFill>
                  <a:srgbClr val="000000"/>
                </a:solidFill>
                <a:latin typeface="Verdana" pitchFamily="34" charset="0"/>
                <a:ea typeface="Verdana" pitchFamily="34" charset="0"/>
                <a:cs typeface="Verdana" pitchFamily="34" charset="0"/>
              </a:rPr>
              <a:t>Evapo</a:t>
            </a:r>
            <a:r>
              <a:rPr kumimoji="1" lang="en-US" altLang="en-US" sz="1324" dirty="0">
                <a:solidFill>
                  <a:srgbClr val="000000"/>
                </a:solidFill>
                <a:latin typeface="Verdana" pitchFamily="34" charset="0"/>
                <a:ea typeface="Verdana" pitchFamily="34" charset="0"/>
                <a:cs typeface="Verdana" pitchFamily="34" charset="0"/>
              </a:rPr>
              <a:t>-transpiration modeling &amp; plant modeling to determine irrigation schedule</a:t>
            </a:r>
          </a:p>
        </p:txBody>
      </p:sp>
      <p:cxnSp>
        <p:nvCxnSpPr>
          <p:cNvPr id="28" name="Straight Connector 27"/>
          <p:cNvCxnSpPr/>
          <p:nvPr/>
        </p:nvCxnSpPr>
        <p:spPr>
          <a:xfrm rot="10800000" flipH="1">
            <a:off x="458391" y="2796779"/>
            <a:ext cx="8168878" cy="11906"/>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
          <p:cNvSpPr txBox="1">
            <a:spLocks noChangeArrowheads="1"/>
          </p:cNvSpPr>
          <p:nvPr/>
        </p:nvSpPr>
        <p:spPr bwMode="auto">
          <a:xfrm>
            <a:off x="1456135" y="4216004"/>
            <a:ext cx="958453" cy="611406"/>
          </a:xfrm>
          <a:prstGeom prst="rect">
            <a:avLst/>
          </a:prstGeom>
          <a:noFill/>
          <a:ln w="9525">
            <a:noFill/>
            <a:miter lim="800000"/>
            <a:headEnd/>
            <a:tailEnd/>
          </a:ln>
        </p:spPr>
        <p:txBody>
          <a:bodyPr lIns="50819" tIns="25410" rIns="50819" bIns="25410">
            <a:spAutoFit/>
          </a:bodyPr>
          <a:lstStyle/>
          <a:p>
            <a:pPr defTabSz="685800" fontAlgn="base">
              <a:spcBef>
                <a:spcPct val="0"/>
              </a:spcBef>
              <a:spcAft>
                <a:spcPct val="0"/>
              </a:spcAft>
              <a:defRPr/>
            </a:pPr>
            <a:r>
              <a:rPr kumimoji="1" lang="en-US" altLang="en-US" sz="728" b="1" i="1" dirty="0">
                <a:solidFill>
                  <a:srgbClr val="000000"/>
                </a:solidFill>
                <a:latin typeface="Arial" panose="020B0604020202020204" pitchFamily="34" charset="0"/>
                <a:ea typeface="MS PGothic" charset="-128"/>
                <a:cs typeface="Arial"/>
              </a:rPr>
              <a:t>Gallo &amp; IBM: </a:t>
            </a:r>
          </a:p>
          <a:p>
            <a:pPr defTabSz="685800" fontAlgn="base">
              <a:spcBef>
                <a:spcPct val="0"/>
              </a:spcBef>
              <a:spcAft>
                <a:spcPct val="0"/>
              </a:spcAft>
              <a:defRPr/>
            </a:pPr>
            <a:r>
              <a:rPr kumimoji="1" lang="en-US" altLang="en-US" sz="728" b="1" i="1" dirty="0">
                <a:solidFill>
                  <a:srgbClr val="000000"/>
                </a:solidFill>
                <a:latin typeface="Arial" panose="020B0604020202020204" pitchFamily="34" charset="0"/>
                <a:ea typeface="MS PGothic" charset="-128"/>
                <a:cs typeface="Arial"/>
              </a:rPr>
              <a:t>2014 Vintage Report Innovation Award  for prototype system</a:t>
            </a:r>
          </a:p>
        </p:txBody>
      </p:sp>
      <p:pic>
        <p:nvPicPr>
          <p:cNvPr id="22541" name="Picture 1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9119" y="4032647"/>
            <a:ext cx="796529" cy="695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37D93"/>
                  </a:outerShdw>
                </a:effectLst>
              </a14:hiddenEffects>
            </a:ext>
          </a:extLst>
        </p:spPr>
      </p:pic>
      <p:sp>
        <p:nvSpPr>
          <p:cNvPr id="15" name="Rectangle 14"/>
          <p:cNvSpPr/>
          <p:nvPr/>
        </p:nvSpPr>
        <p:spPr bwMode="auto">
          <a:xfrm>
            <a:off x="548879" y="3968354"/>
            <a:ext cx="2016919" cy="1058465"/>
          </a:xfrm>
          <a:prstGeom prst="rect">
            <a:avLst/>
          </a:prstGeom>
          <a:noFill/>
          <a:ln>
            <a:solidFill>
              <a:schemeClr val="accent1"/>
            </a:solidFill>
          </a:ln>
          <a:effectLst/>
          <a:extLst/>
        </p:spPr>
        <p:txBody>
          <a:bodyPr lIns="60512" tIns="30256" rIns="60512" bIns="30256"/>
          <a:lstStyle/>
          <a:p>
            <a:pPr defTabSz="605150" fontAlgn="base">
              <a:lnSpc>
                <a:spcPct val="90000"/>
              </a:lnSpc>
              <a:spcBef>
                <a:spcPct val="0"/>
              </a:spcBef>
              <a:spcAft>
                <a:spcPct val="0"/>
              </a:spcAft>
              <a:defRPr/>
            </a:pPr>
            <a:endParaRPr lang="en-US" sz="1456">
              <a:solidFill>
                <a:srgbClr val="007670"/>
              </a:solidFill>
              <a:latin typeface="Arial" panose="020B0604020202020204" pitchFamily="34" charset="0"/>
              <a:ea typeface="MS PGothic" charset="-128"/>
              <a:cs typeface="Arial"/>
            </a:endParaRPr>
          </a:p>
        </p:txBody>
      </p:sp>
      <p:sp>
        <p:nvSpPr>
          <p:cNvPr id="18" name="TextBox 17"/>
          <p:cNvSpPr txBox="1"/>
          <p:nvPr/>
        </p:nvSpPr>
        <p:spPr>
          <a:xfrm>
            <a:off x="700088" y="4783931"/>
            <a:ext cx="636985" cy="296107"/>
          </a:xfrm>
          <a:prstGeom prst="rect">
            <a:avLst/>
          </a:prstGeom>
          <a:noFill/>
        </p:spPr>
        <p:txBody>
          <a:bodyPr>
            <a:spAutoFit/>
          </a:bodyPr>
          <a:lstStyle/>
          <a:p>
            <a:pPr defTabSz="685800" eaLnBrk="0" fontAlgn="base" hangingPunct="0">
              <a:spcBef>
                <a:spcPct val="0"/>
              </a:spcBef>
              <a:spcAft>
                <a:spcPct val="0"/>
              </a:spcAft>
              <a:defRPr/>
            </a:pPr>
            <a:r>
              <a:rPr kumimoji="1" lang="en-US" sz="662" b="1" dirty="0">
                <a:solidFill>
                  <a:srgbClr val="000000"/>
                </a:solidFill>
                <a:latin typeface="Arial" charset="0"/>
                <a:ea typeface="MS PGothic" charset="-128"/>
                <a:cs typeface="Arial"/>
              </a:rPr>
              <a:t>20 Jan. 2015</a:t>
            </a:r>
          </a:p>
        </p:txBody>
      </p:sp>
    </p:spTree>
    <p:extLst>
      <p:ext uri="{BB962C8B-B14F-4D97-AF65-F5344CB8AC3E}">
        <p14:creationId xmlns:p14="http://schemas.microsoft.com/office/powerpoint/2010/main" val="2863403149"/>
      </p:ext>
    </p:extLst>
  </p:cSld>
  <p:clrMapOvr>
    <a:masterClrMapping/>
  </p:clrMapOvr>
  <p:transition spd="med">
    <p:fade/>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3"/>
          <p:cNvSpPr txBox="1">
            <a:spLocks noChangeArrowheads="1"/>
          </p:cNvSpPr>
          <p:nvPr/>
        </p:nvSpPr>
        <p:spPr bwMode="auto">
          <a:xfrm>
            <a:off x="458391" y="1413273"/>
            <a:ext cx="4369594" cy="3387328"/>
          </a:xfrm>
          <a:prstGeom prst="rect">
            <a:avLst/>
          </a:prstGeom>
          <a:noFill/>
          <a:ln w="9525">
            <a:noFill/>
            <a:miter lim="800000"/>
            <a:headEnd/>
            <a:tailEnd/>
          </a:ln>
        </p:spPr>
        <p:txBody>
          <a:bodyPr/>
          <a:lstStyle/>
          <a:p>
            <a:pPr marL="213122" lvl="1" indent="-213122" defTabSz="685800">
              <a:lnSpc>
                <a:spcPct val="90000"/>
              </a:lnSpc>
              <a:spcBef>
                <a:spcPts val="150"/>
              </a:spcBef>
              <a:buClr>
                <a:srgbClr val="000000"/>
              </a:buClr>
              <a:buFont typeface="Arial" pitchFamily="34" charset="0"/>
              <a:buChar char="•"/>
              <a:defRPr/>
            </a:pPr>
            <a:r>
              <a:rPr kumimoji="1" lang="en-US" sz="1500" kern="0" dirty="0">
                <a:solidFill>
                  <a:srgbClr val="000000"/>
                </a:solidFill>
                <a:latin typeface="Calibri" pitchFamily="34" charset="0"/>
                <a:ea typeface="MS PGothic" charset="-128"/>
                <a:cs typeface="Calibri" pitchFamily="34" charset="0"/>
              </a:rPr>
              <a:t>Predictive weather model</a:t>
            </a:r>
          </a:p>
          <a:p>
            <a:pPr marL="213122" lvl="1" indent="-213122" defTabSz="685800">
              <a:lnSpc>
                <a:spcPct val="90000"/>
              </a:lnSpc>
              <a:spcBef>
                <a:spcPts val="150"/>
              </a:spcBef>
              <a:buClr>
                <a:srgbClr val="000000"/>
              </a:buClr>
              <a:buFont typeface="Arial" pitchFamily="34" charset="0"/>
              <a:buChar char="•"/>
              <a:defRPr/>
            </a:pPr>
            <a:r>
              <a:rPr kumimoji="1" lang="en-US" sz="1500" kern="0" dirty="0">
                <a:solidFill>
                  <a:srgbClr val="000000"/>
                </a:solidFill>
                <a:latin typeface="Calibri" pitchFamily="34" charset="0"/>
                <a:ea typeface="MS PGothic" charset="-128"/>
                <a:cs typeface="Calibri" pitchFamily="34" charset="0"/>
              </a:rPr>
              <a:t>Weather station data</a:t>
            </a:r>
          </a:p>
          <a:p>
            <a:pPr marL="213122" lvl="1" indent="-213122" defTabSz="685800">
              <a:lnSpc>
                <a:spcPct val="90000"/>
              </a:lnSpc>
              <a:spcBef>
                <a:spcPts val="150"/>
              </a:spcBef>
              <a:buClr>
                <a:srgbClr val="000000"/>
              </a:buClr>
              <a:buFont typeface="Arial" pitchFamily="34" charset="0"/>
              <a:buChar char="•"/>
              <a:defRPr/>
            </a:pPr>
            <a:r>
              <a:rPr kumimoji="1" lang="en-US" sz="1500" kern="0" dirty="0" err="1">
                <a:solidFill>
                  <a:srgbClr val="000000"/>
                </a:solidFill>
                <a:latin typeface="Calibri" pitchFamily="34" charset="0"/>
                <a:ea typeface="MS PGothic" charset="-128"/>
                <a:cs typeface="Calibri" pitchFamily="34" charset="0"/>
              </a:rPr>
              <a:t>Evapo</a:t>
            </a:r>
            <a:r>
              <a:rPr kumimoji="1" lang="en-US" sz="1500" kern="0" dirty="0">
                <a:solidFill>
                  <a:srgbClr val="000000"/>
                </a:solidFill>
                <a:latin typeface="Calibri" pitchFamily="34" charset="0"/>
                <a:ea typeface="MS PGothic" charset="-128"/>
                <a:cs typeface="Calibri" pitchFamily="34" charset="0"/>
              </a:rPr>
              <a:t>-transpiration modeling</a:t>
            </a:r>
          </a:p>
          <a:p>
            <a:pPr marL="213122" lvl="1" indent="-213122" defTabSz="685800">
              <a:lnSpc>
                <a:spcPct val="90000"/>
              </a:lnSpc>
              <a:spcBef>
                <a:spcPts val="150"/>
              </a:spcBef>
              <a:buClr>
                <a:srgbClr val="000000"/>
              </a:buClr>
              <a:buFont typeface="Arial" pitchFamily="34" charset="0"/>
              <a:buChar char="•"/>
              <a:defRPr/>
            </a:pPr>
            <a:endParaRPr kumimoji="1" lang="en-US" sz="1500" kern="0" dirty="0">
              <a:solidFill>
                <a:srgbClr val="000000"/>
              </a:solidFill>
              <a:latin typeface="Calibri" pitchFamily="34" charset="0"/>
              <a:ea typeface="MS PGothic" charset="-128"/>
              <a:cs typeface="Calibri" pitchFamily="34" charset="0"/>
            </a:endParaRPr>
          </a:p>
          <a:p>
            <a:pPr marL="213122" lvl="1" indent="-213122" defTabSz="685800">
              <a:lnSpc>
                <a:spcPct val="90000"/>
              </a:lnSpc>
              <a:spcBef>
                <a:spcPts val="150"/>
              </a:spcBef>
              <a:buClr>
                <a:srgbClr val="FF0000"/>
              </a:buClr>
              <a:buFont typeface="Arial" pitchFamily="34" charset="0"/>
              <a:buChar char="•"/>
              <a:defRPr/>
            </a:pPr>
            <a:r>
              <a:rPr kumimoji="1" lang="en-US" sz="1500" i="1" kern="0" dirty="0">
                <a:solidFill>
                  <a:srgbClr val="FF0000"/>
                </a:solidFill>
                <a:latin typeface="Calibri" pitchFamily="34" charset="0"/>
                <a:ea typeface="MS PGothic" charset="-128"/>
                <a:cs typeface="Calibri" pitchFamily="34" charset="0"/>
              </a:rPr>
              <a:t>Control a smart variable rate irrigation system</a:t>
            </a:r>
          </a:p>
          <a:p>
            <a:pPr marL="488156" lvl="1" indent="-228600" defTabSz="685800">
              <a:lnSpc>
                <a:spcPct val="90000"/>
              </a:lnSpc>
              <a:spcBef>
                <a:spcPct val="20000"/>
              </a:spcBef>
              <a:buClr>
                <a:srgbClr val="000000"/>
              </a:buClr>
              <a:buFont typeface="Wingdings" pitchFamily="2" charset="2"/>
              <a:buAutoNum type="arabicPeriod"/>
              <a:defRPr/>
            </a:pPr>
            <a:endParaRPr kumimoji="1" lang="en-US" sz="1200" kern="0" dirty="0">
              <a:solidFill>
                <a:srgbClr val="000000"/>
              </a:solidFill>
              <a:latin typeface="Calibri" pitchFamily="34" charset="0"/>
              <a:ea typeface="MS PGothic" charset="-128"/>
              <a:cs typeface="Calibri" pitchFamily="34" charset="0"/>
            </a:endParaRPr>
          </a:p>
          <a:p>
            <a:pPr marL="488156" lvl="1" indent="-228600" defTabSz="685800">
              <a:lnSpc>
                <a:spcPct val="90000"/>
              </a:lnSpc>
              <a:spcBef>
                <a:spcPct val="20000"/>
              </a:spcBef>
              <a:buClr>
                <a:srgbClr val="000000"/>
              </a:buClr>
              <a:buFont typeface="Wingdings" pitchFamily="2" charset="2"/>
              <a:buAutoNum type="arabicPeriod"/>
              <a:defRPr/>
            </a:pPr>
            <a:endParaRPr kumimoji="1" lang="en-US" sz="1350" b="1" kern="0" dirty="0">
              <a:solidFill>
                <a:srgbClr val="000000"/>
              </a:solidFill>
              <a:latin typeface="Calibri" pitchFamily="34" charset="0"/>
              <a:ea typeface="MS PGothic" charset="-128"/>
              <a:cs typeface="Calibri" pitchFamily="34" charset="0"/>
            </a:endParaRPr>
          </a:p>
          <a:p>
            <a:pPr marL="228600" indent="-228600" defTabSz="685800">
              <a:lnSpc>
                <a:spcPct val="90000"/>
              </a:lnSpc>
              <a:spcBef>
                <a:spcPct val="20000"/>
              </a:spcBef>
              <a:buClr>
                <a:srgbClr val="000000"/>
              </a:buClr>
              <a:defRPr/>
            </a:pPr>
            <a:endParaRPr kumimoji="1" lang="en-US" sz="1350" b="1" kern="0" dirty="0">
              <a:solidFill>
                <a:srgbClr val="000000"/>
              </a:solidFill>
              <a:latin typeface="Calibri" pitchFamily="34" charset="0"/>
              <a:ea typeface="MS PGothic" charset="-128"/>
              <a:cs typeface="Calibri" pitchFamily="34" charset="0"/>
            </a:endParaRPr>
          </a:p>
          <a:p>
            <a:pPr marL="740569" lvl="2" indent="-228600" defTabSz="685800">
              <a:lnSpc>
                <a:spcPct val="90000"/>
              </a:lnSpc>
              <a:spcBef>
                <a:spcPct val="20000"/>
              </a:spcBef>
              <a:buClr>
                <a:srgbClr val="000000"/>
              </a:buClr>
              <a:buFont typeface="Wingdings" pitchFamily="2" charset="2"/>
              <a:buAutoNum type="arabicPeriod"/>
              <a:defRPr/>
            </a:pPr>
            <a:endParaRPr kumimoji="1" lang="en-US" sz="1350" b="1" kern="0" dirty="0">
              <a:solidFill>
                <a:srgbClr val="000000"/>
              </a:solidFill>
              <a:latin typeface="Calibri" pitchFamily="34" charset="0"/>
              <a:ea typeface="MS PGothic" charset="-128"/>
              <a:cs typeface="Calibri" pitchFamily="34" charset="0"/>
            </a:endParaRPr>
          </a:p>
          <a:p>
            <a:pPr marL="488156" lvl="1" indent="-228600" defTabSz="685800">
              <a:lnSpc>
                <a:spcPct val="90000"/>
              </a:lnSpc>
              <a:spcBef>
                <a:spcPct val="20000"/>
              </a:spcBef>
              <a:buClr>
                <a:srgbClr val="000000"/>
              </a:buClr>
              <a:buFont typeface="Wingdings" pitchFamily="2" charset="2"/>
              <a:buAutoNum type="arabicPeriod"/>
              <a:defRPr/>
            </a:pPr>
            <a:endParaRPr kumimoji="1" lang="en-US" sz="1350" b="1" kern="0" dirty="0">
              <a:solidFill>
                <a:srgbClr val="000000"/>
              </a:solidFill>
              <a:latin typeface="Calibri" pitchFamily="34" charset="0"/>
              <a:ea typeface="MS PGothic" charset="-128"/>
              <a:cs typeface="Calibri" pitchFamily="34" charset="0"/>
            </a:endParaRPr>
          </a:p>
          <a:p>
            <a:pPr marL="488156" lvl="1" indent="-228600" defTabSz="685800">
              <a:lnSpc>
                <a:spcPct val="90000"/>
              </a:lnSpc>
              <a:spcBef>
                <a:spcPct val="20000"/>
              </a:spcBef>
              <a:buClr>
                <a:srgbClr val="000000"/>
              </a:buClr>
              <a:buFont typeface="Arial" charset="0"/>
              <a:buChar char="–"/>
              <a:defRPr/>
            </a:pPr>
            <a:endParaRPr kumimoji="1" lang="en-US" sz="1200" kern="0" dirty="0">
              <a:solidFill>
                <a:srgbClr val="000000"/>
              </a:solidFill>
              <a:latin typeface="Calibri" pitchFamily="34" charset="0"/>
              <a:ea typeface="MS PGothic" charset="-128"/>
              <a:cs typeface="Calibri" pitchFamily="34" charset="0"/>
            </a:endParaRPr>
          </a:p>
        </p:txBody>
      </p:sp>
      <p:sp>
        <p:nvSpPr>
          <p:cNvPr id="24579" name="Text Box 7"/>
          <p:cNvSpPr txBox="1">
            <a:spLocks noChangeArrowheads="1"/>
          </p:cNvSpPr>
          <p:nvPr/>
        </p:nvSpPr>
        <p:spPr bwMode="auto">
          <a:xfrm>
            <a:off x="1885950" y="2686050"/>
            <a:ext cx="213360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algn="ctr" defTabSz="685800" fontAlgn="base">
              <a:lnSpc>
                <a:spcPct val="90000"/>
              </a:lnSpc>
              <a:spcBef>
                <a:spcPct val="0"/>
              </a:spcBef>
              <a:spcAft>
                <a:spcPct val="0"/>
              </a:spcAft>
              <a:buClrTx/>
              <a:buNone/>
            </a:pPr>
            <a:r>
              <a:rPr kumimoji="1" lang="en-US" altLang="en-US" sz="1200" b="1">
                <a:solidFill>
                  <a:srgbClr val="000000"/>
                </a:solidFill>
                <a:latin typeface="Calibri" panose="020F0502020204030204" pitchFamily="34" charset="0"/>
              </a:rPr>
              <a:t>Control electronics </a:t>
            </a:r>
          </a:p>
          <a:p>
            <a:pPr algn="ctr" defTabSz="685800" fontAlgn="base">
              <a:lnSpc>
                <a:spcPct val="90000"/>
              </a:lnSpc>
              <a:spcBef>
                <a:spcPct val="0"/>
              </a:spcBef>
              <a:spcAft>
                <a:spcPct val="0"/>
              </a:spcAft>
              <a:buClrTx/>
              <a:buNone/>
            </a:pPr>
            <a:r>
              <a:rPr kumimoji="1" lang="en-US" altLang="en-US" sz="1200" b="1">
                <a:solidFill>
                  <a:srgbClr val="000000"/>
                </a:solidFill>
                <a:latin typeface="Calibri" panose="020F0502020204030204" pitchFamily="34" charset="0"/>
              </a:rPr>
              <a:t>box and node</a:t>
            </a:r>
          </a:p>
        </p:txBody>
      </p:sp>
      <p:sp>
        <p:nvSpPr>
          <p:cNvPr id="24580" name="Text Box 8"/>
          <p:cNvSpPr txBox="1">
            <a:spLocks noChangeArrowheads="1"/>
          </p:cNvSpPr>
          <p:nvPr/>
        </p:nvSpPr>
        <p:spPr bwMode="auto">
          <a:xfrm>
            <a:off x="251222" y="3748088"/>
            <a:ext cx="21336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algn="ctr" defTabSz="685800" fontAlgn="base">
              <a:lnSpc>
                <a:spcPct val="90000"/>
              </a:lnSpc>
              <a:spcBef>
                <a:spcPct val="0"/>
              </a:spcBef>
              <a:spcAft>
                <a:spcPct val="0"/>
              </a:spcAft>
              <a:buClrTx/>
              <a:buNone/>
            </a:pPr>
            <a:r>
              <a:rPr kumimoji="1" lang="en-US" altLang="en-US" sz="1200" b="1">
                <a:solidFill>
                  <a:srgbClr val="000000"/>
                </a:solidFill>
                <a:latin typeface="Calibri" panose="020F0502020204030204" pitchFamily="34" charset="0"/>
              </a:rPr>
              <a:t>Double drip line with </a:t>
            </a:r>
          </a:p>
          <a:p>
            <a:pPr algn="ctr" defTabSz="685800" fontAlgn="base">
              <a:lnSpc>
                <a:spcPct val="90000"/>
              </a:lnSpc>
              <a:spcBef>
                <a:spcPct val="0"/>
              </a:spcBef>
              <a:spcAft>
                <a:spcPct val="0"/>
              </a:spcAft>
              <a:buClrTx/>
              <a:buNone/>
            </a:pPr>
            <a:r>
              <a:rPr kumimoji="1" lang="en-US" altLang="en-US" sz="1200" b="1">
                <a:solidFill>
                  <a:srgbClr val="000000"/>
                </a:solidFill>
                <a:latin typeface="Calibri" panose="020F0502020204030204" pitchFamily="34" charset="0"/>
              </a:rPr>
              <a:t>control electronics.</a:t>
            </a:r>
          </a:p>
        </p:txBody>
      </p:sp>
      <p:pic>
        <p:nvPicPr>
          <p:cNvPr id="24581" name="Picture 11"/>
          <p:cNvPicPr>
            <a:picLocks noChangeAspect="1" noChangeArrowheads="1"/>
          </p:cNvPicPr>
          <p:nvPr/>
        </p:nvPicPr>
        <p:blipFill>
          <a:blip r:embed="rId3">
            <a:extLst>
              <a:ext uri="{28A0092B-C50C-407E-A947-70E740481C1C}">
                <a14:useLocalDpi xmlns:a14="http://schemas.microsoft.com/office/drawing/2010/main" val="0"/>
              </a:ext>
            </a:extLst>
          </a:blip>
          <a:srcRect t="34033"/>
          <a:stretch>
            <a:fillRect/>
          </a:stretch>
        </p:blipFill>
        <p:spPr bwMode="auto">
          <a:xfrm>
            <a:off x="2176463" y="2889647"/>
            <a:ext cx="2505075" cy="185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582" name="Group 18"/>
          <p:cNvGrpSpPr>
            <a:grpSpLocks/>
          </p:cNvGrpSpPr>
          <p:nvPr/>
        </p:nvGrpSpPr>
        <p:grpSpPr bwMode="auto">
          <a:xfrm>
            <a:off x="4812506" y="1774032"/>
            <a:ext cx="4195763" cy="3026569"/>
            <a:chOff x="5637211" y="914400"/>
            <a:chExt cx="6342993" cy="5410200"/>
          </a:xfrm>
        </p:grpSpPr>
        <p:sp>
          <p:nvSpPr>
            <p:cNvPr id="27" name="Rectangle 26"/>
            <p:cNvSpPr/>
            <p:nvPr/>
          </p:nvSpPr>
          <p:spPr>
            <a:xfrm>
              <a:off x="10156864" y="1320911"/>
              <a:ext cx="1625346" cy="175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kumimoji="1" lang="en-US" sz="1350">
                <a:solidFill>
                  <a:srgbClr val="FFFFFF"/>
                </a:solidFill>
                <a:latin typeface="Arial"/>
                <a:cs typeface="Arial"/>
              </a:endParaRPr>
            </a:p>
          </p:txBody>
        </p:sp>
        <p:sp>
          <p:nvSpPr>
            <p:cNvPr id="29" name="Rectangle 28"/>
            <p:cNvSpPr/>
            <p:nvPr/>
          </p:nvSpPr>
          <p:spPr>
            <a:xfrm>
              <a:off x="6906170" y="1169799"/>
              <a:ext cx="914370" cy="5320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kumimoji="1" lang="en-US" sz="1350">
                <a:solidFill>
                  <a:srgbClr val="FFFFFF"/>
                </a:solidFill>
                <a:latin typeface="Arial"/>
                <a:cs typeface="Arial"/>
              </a:endParaRPr>
            </a:p>
          </p:txBody>
        </p:sp>
        <p:pic>
          <p:nvPicPr>
            <p:cNvPr id="24588" name="Picture 2" descr="C:\Users\IBM_ADMIN\Desktop\Fig1-v3-PAIRS.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37211" y="914400"/>
              <a:ext cx="6342993" cy="541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Rectangle 30"/>
            <p:cNvSpPr/>
            <p:nvPr/>
          </p:nvSpPr>
          <p:spPr>
            <a:xfrm>
              <a:off x="5712809" y="1295371"/>
              <a:ext cx="381588" cy="4575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kumimoji="1" lang="en-US" sz="1350">
                <a:solidFill>
                  <a:srgbClr val="FFFFFF"/>
                </a:solidFill>
                <a:latin typeface="Arial"/>
                <a:cs typeface="Arial"/>
              </a:endParaRPr>
            </a:p>
          </p:txBody>
        </p:sp>
        <p:sp>
          <p:nvSpPr>
            <p:cNvPr id="32" name="Rectangle 31"/>
            <p:cNvSpPr/>
            <p:nvPr/>
          </p:nvSpPr>
          <p:spPr>
            <a:xfrm>
              <a:off x="9066100" y="1371990"/>
              <a:ext cx="381588" cy="455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kumimoji="1" lang="en-US" sz="1350">
                <a:solidFill>
                  <a:srgbClr val="FFFFFF"/>
                </a:solidFill>
                <a:latin typeface="Arial"/>
                <a:cs typeface="Arial"/>
              </a:endParaRPr>
            </a:p>
          </p:txBody>
        </p:sp>
      </p:grpSp>
      <p:sp>
        <p:nvSpPr>
          <p:cNvPr id="24583" name="Rectangle 6"/>
          <p:cNvSpPr>
            <a:spLocks noChangeArrowheads="1"/>
          </p:cNvSpPr>
          <p:nvPr/>
        </p:nvSpPr>
        <p:spPr bwMode="black">
          <a:xfrm>
            <a:off x="3829050" y="4972050"/>
            <a:ext cx="1543050"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algn="r" defTabSz="685800" fontAlgn="base">
              <a:spcBef>
                <a:spcPct val="0"/>
              </a:spcBef>
              <a:spcAft>
                <a:spcPct val="0"/>
              </a:spcAft>
            </a:pPr>
            <a:r>
              <a:rPr lang="en-US" altLang="en-US" sz="900">
                <a:solidFill>
                  <a:srgbClr val="7F7F7F"/>
                </a:solidFill>
                <a:cs typeface="Arial"/>
              </a:rPr>
              <a:t>© 2015 IBM Corporation</a:t>
            </a:r>
          </a:p>
        </p:txBody>
      </p:sp>
      <p:sp>
        <p:nvSpPr>
          <p:cNvPr id="37896" name="Text Box 2"/>
          <p:cNvSpPr txBox="1">
            <a:spLocks noChangeArrowheads="1"/>
          </p:cNvSpPr>
          <p:nvPr/>
        </p:nvSpPr>
        <p:spPr bwMode="auto">
          <a:xfrm>
            <a:off x="2425304" y="529828"/>
            <a:ext cx="6582965" cy="756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251" tIns="34125" rIns="68251" bIns="34125"/>
          <a:lstStyle>
            <a:lvl1pPr>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1pPr>
            <a:lvl2pPr marL="742950" indent="-285750">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2pPr>
            <a:lvl3pPr marL="1143000" indent="-228600">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3pPr>
            <a:lvl4pPr marL="1600200" indent="-228600">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4pPr>
            <a:lvl5pPr marL="2057400" indent="-228600">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tabLst>
                <a:tab pos="0" algn="l"/>
                <a:tab pos="909638" algn="l"/>
                <a:tab pos="1819275" algn="l"/>
                <a:tab pos="2728913" algn="l"/>
                <a:tab pos="3640138" algn="l"/>
                <a:tab pos="4549775" algn="l"/>
                <a:tab pos="5459413" algn="l"/>
                <a:tab pos="6369050" algn="l"/>
                <a:tab pos="7280275" algn="l"/>
                <a:tab pos="8189913" algn="l"/>
                <a:tab pos="9099550" algn="l"/>
                <a:tab pos="10009188" algn="l"/>
              </a:tabLst>
              <a:defRPr kumimoji="1">
                <a:solidFill>
                  <a:schemeClr val="tx1"/>
                </a:solidFill>
                <a:latin typeface="Arial" panose="020B0604020202020204" pitchFamily="34" charset="0"/>
                <a:ea typeface="MS PGothic" panose="020B0600070205080204" pitchFamily="34" charset="-128"/>
              </a:defRPr>
            </a:lvl9pPr>
          </a:lstStyle>
          <a:p>
            <a:pPr defTabSz="685800" eaLnBrk="0" fontAlgn="base" hangingPunct="0">
              <a:spcBef>
                <a:spcPct val="0"/>
              </a:spcBef>
              <a:spcAft>
                <a:spcPct val="0"/>
              </a:spcAft>
              <a:tabLst>
                <a:tab pos="0" algn="l"/>
                <a:tab pos="682229" algn="l"/>
                <a:tab pos="1364456" algn="l"/>
                <a:tab pos="2046685" algn="l"/>
                <a:tab pos="2730104" algn="l"/>
                <a:tab pos="3412331" algn="l"/>
                <a:tab pos="4094560" algn="l"/>
                <a:tab pos="4776788" algn="l"/>
                <a:tab pos="5460206" algn="l"/>
                <a:tab pos="6142435" algn="l"/>
                <a:tab pos="6824663" algn="l"/>
                <a:tab pos="7506891" algn="l"/>
              </a:tabLst>
              <a:defRPr/>
            </a:pPr>
            <a:r>
              <a:rPr lang="en-US" altLang="en-US" sz="1600" dirty="0">
                <a:solidFill>
                  <a:srgbClr val="808080"/>
                </a:solidFill>
                <a:latin typeface="Calibri" panose="020F0502020204030204" pitchFamily="34" charset="0"/>
                <a:cs typeface="HelvNeue Light for IBM"/>
              </a:rPr>
              <a:t>Scalable Analytics:  Improving crop yield and quality while reducing water consumption in the vineyard</a:t>
            </a:r>
          </a:p>
        </p:txBody>
      </p:sp>
      <p:pic>
        <p:nvPicPr>
          <p:cNvPr id="24585" name="Picture 36" descr="gallo_logo.jpg"/>
          <p:cNvPicPr>
            <a:picLocks noChangeAspect="1"/>
          </p:cNvPicPr>
          <p:nvPr/>
        </p:nvPicPr>
        <p:blipFill>
          <a:blip r:embed="rId5" cstate="print">
            <a:extLst>
              <a:ext uri="{28A0092B-C50C-407E-A947-70E740481C1C}">
                <a14:useLocalDpi xmlns:a14="http://schemas.microsoft.com/office/drawing/2010/main" val="0"/>
              </a:ext>
            </a:extLst>
          </a:blip>
          <a:srcRect t="6107"/>
          <a:stretch>
            <a:fillRect/>
          </a:stretch>
        </p:blipFill>
        <p:spPr bwMode="auto">
          <a:xfrm>
            <a:off x="279798" y="504826"/>
            <a:ext cx="1916906" cy="870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44680794"/>
      </p:ext>
    </p:extLst>
  </p:cSld>
  <p:clrMapOvr>
    <a:masterClrMapping/>
  </p:clrMapOvr>
  <p:transition spd="med">
    <p:fade/>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0">
          <a:blip r:embed="rId5"/>
          <a:srcRect/>
          <a:stretch>
            <a:fillRect/>
          </a:stretch>
        </a:blipFill>
        <a:effectLst/>
      </p:bgPr>
    </p:bg>
    <p:spTree>
      <p:nvGrpSpPr>
        <p:cNvPr id="1" name=""/>
        <p:cNvGrpSpPr/>
        <p:nvPr/>
      </p:nvGrpSpPr>
      <p:grpSpPr>
        <a:xfrm>
          <a:off x="0" y="0"/>
          <a:ext cx="0" cy="0"/>
          <a:chOff x="0" y="0"/>
          <a:chExt cx="0" cy="0"/>
        </a:xfrm>
      </p:grpSpPr>
      <p:graphicFrame>
        <p:nvGraphicFramePr>
          <p:cNvPr id="26626" name="Object 24"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8680" name="think-cell Slide" r:id="rId6" imgW="270" imgH="270" progId="TCLayout.ActiveDocument.1">
                  <p:embed/>
                </p:oleObj>
              </mc:Choice>
              <mc:Fallback>
                <p:oleObj name="think-cell Slide" r:id="rId6" imgW="270" imgH="270" progId="TCLayout.ActiveDocument.1">
                  <p:embed/>
                  <p:pic>
                    <p:nvPicPr>
                      <p:cNvPr id="26626" name="Object 2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627" name="Rectangle 6"/>
          <p:cNvSpPr>
            <a:spLocks noChangeArrowheads="1"/>
          </p:cNvSpPr>
          <p:nvPr/>
        </p:nvSpPr>
        <p:spPr bwMode="auto">
          <a:xfrm>
            <a:off x="8335" y="417910"/>
            <a:ext cx="8970169"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nchor="ctr"/>
          <a:lstStyle>
            <a:lvl1pPr defTabSz="912813">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defTabSz="912813">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defTabSz="912813">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defTabSz="912813">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defTabSz="912813">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defTabSz="912813"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defTabSz="912813"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defTabSz="912813"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defTabSz="912813"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684610" fontAlgn="base">
              <a:spcBef>
                <a:spcPct val="0"/>
              </a:spcBef>
              <a:spcAft>
                <a:spcPct val="0"/>
              </a:spcAft>
              <a:buClrTx/>
              <a:buNone/>
            </a:pPr>
            <a:endParaRPr kumimoji="1" lang="en-US" altLang="en-US" b="1" i="1">
              <a:solidFill>
                <a:srgbClr val="000000"/>
              </a:solidFill>
              <a:ea typeface="MS PGothic" panose="020B0600070205080204" pitchFamily="34" charset="-128"/>
              <a:cs typeface="Arial" panose="020B0604020202020204" pitchFamily="34" charset="0"/>
            </a:endParaRPr>
          </a:p>
        </p:txBody>
      </p:sp>
      <p:sp>
        <p:nvSpPr>
          <p:cNvPr id="3" name="Title 2"/>
          <p:cNvSpPr>
            <a:spLocks noGrp="1"/>
          </p:cNvSpPr>
          <p:nvPr>
            <p:ph type="title"/>
          </p:nvPr>
        </p:nvSpPr>
        <p:spPr/>
        <p:txBody>
          <a:bodyPr/>
          <a:lstStyle/>
          <a:p>
            <a:pPr>
              <a:defRPr/>
            </a:pPr>
            <a:r>
              <a:rPr lang="en-US" altLang="en-US" sz="1650" b="0" dirty="0">
                <a:latin typeface="Helvetica" pitchFamily="34" charset="0"/>
              </a:rPr>
              <a:t>IBM Solution :  Scalable </a:t>
            </a:r>
            <a:r>
              <a:rPr lang="en-US" altLang="en-US" sz="1650" b="0" dirty="0" smtClean="0">
                <a:latin typeface="Helvetica" pitchFamily="34" charset="0"/>
              </a:rPr>
              <a:t>Platform</a:t>
            </a:r>
            <a:endParaRPr lang="en-US" altLang="en-US" sz="1650" b="0" dirty="0">
              <a:latin typeface="Helvetica" pitchFamily="34" charset="0"/>
            </a:endParaRPr>
          </a:p>
        </p:txBody>
      </p:sp>
      <p:sp>
        <p:nvSpPr>
          <p:cNvPr id="261" name="Chevron 260"/>
          <p:cNvSpPr/>
          <p:nvPr/>
        </p:nvSpPr>
        <p:spPr bwMode="auto">
          <a:xfrm>
            <a:off x="1960960" y="929879"/>
            <a:ext cx="2196703" cy="3421856"/>
          </a:xfrm>
          <a:prstGeom prst="chevron">
            <a:avLst/>
          </a:prstGeom>
          <a:solidFill>
            <a:srgbClr val="FFFFFF">
              <a:lumMod val="85000"/>
              <a:alpha val="39000"/>
            </a:srgbClr>
          </a:solidFill>
          <a:ln w="9525" cap="flat" cmpd="sng" algn="ctr">
            <a:noFill/>
            <a:prstDash val="solid"/>
            <a:round/>
            <a:headEnd type="none" w="med" len="med"/>
            <a:tailEnd type="none" w="med" len="med"/>
          </a:ln>
          <a:effectLst/>
        </p:spPr>
        <p:txBody>
          <a:bodyPr/>
          <a:lstStyle/>
          <a:p>
            <a:pPr algn="ctr" defTabSz="685800">
              <a:defRPr/>
            </a:pPr>
            <a:endParaRPr lang="en-US" sz="825" kern="0" dirty="0">
              <a:solidFill>
                <a:srgbClr val="000000"/>
              </a:solidFill>
              <a:latin typeface="Arial" panose="020B0604020202020204" pitchFamily="34" charset="0"/>
              <a:ea typeface="ＭＳ Ｐゴシック" charset="-128"/>
              <a:cs typeface="Arial"/>
            </a:endParaRPr>
          </a:p>
        </p:txBody>
      </p:sp>
      <p:sp>
        <p:nvSpPr>
          <p:cNvPr id="262" name="Chevron 261"/>
          <p:cNvSpPr/>
          <p:nvPr/>
        </p:nvSpPr>
        <p:spPr bwMode="auto">
          <a:xfrm>
            <a:off x="3544491" y="913210"/>
            <a:ext cx="2195513" cy="3423047"/>
          </a:xfrm>
          <a:prstGeom prst="chevron">
            <a:avLst/>
          </a:prstGeom>
          <a:solidFill>
            <a:srgbClr val="FFFFFF">
              <a:lumMod val="85000"/>
              <a:alpha val="39000"/>
            </a:srgbClr>
          </a:solidFill>
          <a:ln w="9525" cap="flat" cmpd="sng" algn="ctr">
            <a:noFill/>
            <a:prstDash val="solid"/>
            <a:round/>
            <a:headEnd type="none" w="med" len="med"/>
            <a:tailEnd type="none" w="med" len="med"/>
          </a:ln>
          <a:effectLst/>
        </p:spPr>
        <p:txBody>
          <a:bodyPr/>
          <a:lstStyle/>
          <a:p>
            <a:pPr algn="ctr" defTabSz="685800">
              <a:defRPr/>
            </a:pPr>
            <a:endParaRPr lang="en-US" sz="825" kern="0" dirty="0">
              <a:solidFill>
                <a:srgbClr val="000000"/>
              </a:solidFill>
              <a:latin typeface="Arial" panose="020B0604020202020204" pitchFamily="34" charset="0"/>
              <a:ea typeface="ＭＳ Ｐゴシック" charset="-128"/>
              <a:cs typeface="Arial"/>
            </a:endParaRPr>
          </a:p>
        </p:txBody>
      </p:sp>
      <p:sp>
        <p:nvSpPr>
          <p:cNvPr id="263" name="Chevron 262"/>
          <p:cNvSpPr/>
          <p:nvPr/>
        </p:nvSpPr>
        <p:spPr bwMode="auto">
          <a:xfrm>
            <a:off x="5128022" y="921544"/>
            <a:ext cx="2195513" cy="3423047"/>
          </a:xfrm>
          <a:prstGeom prst="chevron">
            <a:avLst/>
          </a:prstGeom>
          <a:solidFill>
            <a:srgbClr val="FFFFFF">
              <a:lumMod val="85000"/>
              <a:alpha val="39000"/>
            </a:srgbClr>
          </a:solidFill>
          <a:ln w="9525" cap="flat" cmpd="sng" algn="ctr">
            <a:noFill/>
            <a:prstDash val="solid"/>
            <a:round/>
            <a:headEnd type="none" w="med" len="med"/>
            <a:tailEnd type="none" w="med" len="med"/>
          </a:ln>
          <a:effectLst/>
        </p:spPr>
        <p:txBody>
          <a:bodyPr/>
          <a:lstStyle/>
          <a:p>
            <a:pPr algn="ctr" defTabSz="685800">
              <a:defRPr/>
            </a:pPr>
            <a:endParaRPr lang="en-US" sz="825" kern="0" dirty="0">
              <a:solidFill>
                <a:srgbClr val="000000"/>
              </a:solidFill>
              <a:latin typeface="Arial" panose="020B0604020202020204" pitchFamily="34" charset="0"/>
              <a:ea typeface="ＭＳ Ｐゴシック" charset="-128"/>
              <a:cs typeface="Arial"/>
            </a:endParaRPr>
          </a:p>
        </p:txBody>
      </p:sp>
      <p:sp>
        <p:nvSpPr>
          <p:cNvPr id="264" name="Chevron 263"/>
          <p:cNvSpPr/>
          <p:nvPr/>
        </p:nvSpPr>
        <p:spPr bwMode="auto">
          <a:xfrm>
            <a:off x="6710362" y="921544"/>
            <a:ext cx="2196704" cy="3423047"/>
          </a:xfrm>
          <a:prstGeom prst="chevron">
            <a:avLst/>
          </a:prstGeom>
          <a:solidFill>
            <a:srgbClr val="FFFFFF">
              <a:lumMod val="85000"/>
              <a:alpha val="39000"/>
            </a:srgbClr>
          </a:solidFill>
          <a:ln w="9525" cap="flat" cmpd="sng" algn="ctr">
            <a:noFill/>
            <a:prstDash val="solid"/>
            <a:round/>
            <a:headEnd type="none" w="med" len="med"/>
            <a:tailEnd type="none" w="med" len="med"/>
          </a:ln>
          <a:effectLst/>
        </p:spPr>
        <p:txBody>
          <a:bodyPr/>
          <a:lstStyle/>
          <a:p>
            <a:pPr algn="ctr" defTabSz="685800">
              <a:defRPr/>
            </a:pPr>
            <a:endParaRPr lang="en-US" sz="825" kern="0" dirty="0">
              <a:solidFill>
                <a:srgbClr val="000000"/>
              </a:solidFill>
              <a:latin typeface="Arial" panose="020B0604020202020204" pitchFamily="34" charset="0"/>
              <a:ea typeface="ＭＳ Ｐゴシック" charset="-128"/>
              <a:cs typeface="Arial"/>
            </a:endParaRPr>
          </a:p>
        </p:txBody>
      </p:sp>
      <p:sp>
        <p:nvSpPr>
          <p:cNvPr id="267" name="Chevron 266"/>
          <p:cNvSpPr/>
          <p:nvPr/>
        </p:nvSpPr>
        <p:spPr bwMode="auto">
          <a:xfrm>
            <a:off x="300037" y="921544"/>
            <a:ext cx="2195513" cy="3423047"/>
          </a:xfrm>
          <a:prstGeom prst="chevron">
            <a:avLst/>
          </a:prstGeom>
          <a:solidFill>
            <a:srgbClr val="FFFFFF">
              <a:lumMod val="85000"/>
              <a:alpha val="39000"/>
            </a:srgbClr>
          </a:solidFill>
          <a:ln w="9525" cap="flat" cmpd="sng" algn="ctr">
            <a:noFill/>
            <a:prstDash val="solid"/>
            <a:round/>
            <a:headEnd type="none" w="med" len="med"/>
            <a:tailEnd type="none" w="med" len="med"/>
          </a:ln>
          <a:effectLst/>
        </p:spPr>
        <p:txBody>
          <a:bodyPr/>
          <a:lstStyle/>
          <a:p>
            <a:pPr algn="ctr" defTabSz="685800">
              <a:defRPr/>
            </a:pPr>
            <a:endParaRPr lang="en-US" sz="825" kern="0" dirty="0">
              <a:solidFill>
                <a:srgbClr val="000000"/>
              </a:solidFill>
              <a:latin typeface="Arial" panose="020B0604020202020204" pitchFamily="34" charset="0"/>
              <a:ea typeface="ＭＳ Ｐゴシック" charset="-128"/>
              <a:cs typeface="Arial"/>
            </a:endParaRPr>
          </a:p>
        </p:txBody>
      </p:sp>
      <p:sp>
        <p:nvSpPr>
          <p:cNvPr id="268" name="Rectangle 7"/>
          <p:cNvSpPr>
            <a:spLocks noChangeArrowheads="1"/>
          </p:cNvSpPr>
          <p:nvPr/>
        </p:nvSpPr>
        <p:spPr bwMode="auto">
          <a:xfrm>
            <a:off x="295275" y="921544"/>
            <a:ext cx="2287191" cy="3423047"/>
          </a:xfrm>
          <a:prstGeom prst="rect">
            <a:avLst/>
          </a:prstGeom>
          <a:solidFill>
            <a:srgbClr val="00649D">
              <a:alpha val="18039"/>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defTabSz="912813">
              <a:defRPr kumimoji="1">
                <a:solidFill>
                  <a:schemeClr val="tx1"/>
                </a:solidFill>
                <a:latin typeface="Arial" pitchFamily="34" charset="0"/>
                <a:ea typeface="MS PGothic" pitchFamily="34" charset="-128"/>
              </a:defRPr>
            </a:lvl1pPr>
            <a:lvl2pPr marL="742950" indent="-285750" defTabSz="912813">
              <a:defRPr kumimoji="1">
                <a:solidFill>
                  <a:schemeClr val="tx1"/>
                </a:solidFill>
                <a:latin typeface="Arial" pitchFamily="34" charset="0"/>
                <a:ea typeface="MS PGothic" pitchFamily="34" charset="-128"/>
              </a:defRPr>
            </a:lvl2pPr>
            <a:lvl3pPr marL="1143000" indent="-228600" defTabSz="912813">
              <a:defRPr kumimoji="1">
                <a:solidFill>
                  <a:schemeClr val="tx1"/>
                </a:solidFill>
                <a:latin typeface="Arial" pitchFamily="34" charset="0"/>
                <a:ea typeface="MS PGothic" pitchFamily="34" charset="-128"/>
              </a:defRPr>
            </a:lvl3pPr>
            <a:lvl4pPr marL="1600200" indent="-228600" defTabSz="912813">
              <a:defRPr kumimoji="1">
                <a:solidFill>
                  <a:schemeClr val="tx1"/>
                </a:solidFill>
                <a:latin typeface="Arial" pitchFamily="34" charset="0"/>
                <a:ea typeface="MS PGothic" pitchFamily="34" charset="-128"/>
              </a:defRPr>
            </a:lvl4pPr>
            <a:lvl5pPr marL="2057400" indent="-228600" defTabSz="912813">
              <a:defRPr kumimoji="1">
                <a:solidFill>
                  <a:schemeClr val="tx1"/>
                </a:solidFill>
                <a:latin typeface="Arial" pitchFamily="34" charset="0"/>
                <a:ea typeface="MS PGothic" pitchFamily="34" charset="-128"/>
              </a:defRPr>
            </a:lvl5pPr>
            <a:lvl6pPr marL="2514600" indent="-228600" defTabSz="912813" eaLnBrk="0" fontAlgn="base" hangingPunct="0">
              <a:spcBef>
                <a:spcPct val="0"/>
              </a:spcBef>
              <a:spcAft>
                <a:spcPct val="0"/>
              </a:spcAft>
              <a:defRPr kumimoji="1">
                <a:solidFill>
                  <a:schemeClr val="tx1"/>
                </a:solidFill>
                <a:latin typeface="Arial" pitchFamily="34" charset="0"/>
                <a:ea typeface="MS PGothic" pitchFamily="34" charset="-128"/>
              </a:defRPr>
            </a:lvl6pPr>
            <a:lvl7pPr marL="2971800" indent="-228600" defTabSz="912813" eaLnBrk="0" fontAlgn="base" hangingPunct="0">
              <a:spcBef>
                <a:spcPct val="0"/>
              </a:spcBef>
              <a:spcAft>
                <a:spcPct val="0"/>
              </a:spcAft>
              <a:defRPr kumimoji="1">
                <a:solidFill>
                  <a:schemeClr val="tx1"/>
                </a:solidFill>
                <a:latin typeface="Arial" pitchFamily="34" charset="0"/>
                <a:ea typeface="MS PGothic" pitchFamily="34" charset="-128"/>
              </a:defRPr>
            </a:lvl7pPr>
            <a:lvl8pPr marL="3429000" indent="-228600" defTabSz="912813" eaLnBrk="0" fontAlgn="base" hangingPunct="0">
              <a:spcBef>
                <a:spcPct val="0"/>
              </a:spcBef>
              <a:spcAft>
                <a:spcPct val="0"/>
              </a:spcAft>
              <a:defRPr kumimoji="1">
                <a:solidFill>
                  <a:schemeClr val="tx1"/>
                </a:solidFill>
                <a:latin typeface="Arial" pitchFamily="34" charset="0"/>
                <a:ea typeface="MS PGothic" pitchFamily="34" charset="-128"/>
              </a:defRPr>
            </a:lvl8pPr>
            <a:lvl9pPr marL="3886200" indent="-228600" defTabSz="912813" eaLnBrk="0" fontAlgn="base" hangingPunct="0">
              <a:spcBef>
                <a:spcPct val="0"/>
              </a:spcBef>
              <a:spcAft>
                <a:spcPct val="0"/>
              </a:spcAft>
              <a:defRPr kumimoji="1">
                <a:solidFill>
                  <a:schemeClr val="tx1"/>
                </a:solidFill>
                <a:latin typeface="Arial" pitchFamily="34" charset="0"/>
                <a:ea typeface="MS PGothic" pitchFamily="34" charset="-128"/>
              </a:defRPr>
            </a:lvl9pPr>
          </a:lstStyle>
          <a:p>
            <a:pPr defTabSz="684610">
              <a:defRPr/>
            </a:pPr>
            <a:r>
              <a:rPr lang="en-US" altLang="en-US" sz="1350" b="1" i="1" kern="0">
                <a:solidFill>
                  <a:srgbClr val="000000"/>
                </a:solidFill>
                <a:cs typeface="Arial"/>
              </a:rPr>
              <a:t>Sense</a:t>
            </a:r>
          </a:p>
        </p:txBody>
      </p:sp>
      <p:sp>
        <p:nvSpPr>
          <p:cNvPr id="269" name="Rectangle 29"/>
          <p:cNvSpPr>
            <a:spLocks noChangeArrowheads="1"/>
          </p:cNvSpPr>
          <p:nvPr/>
        </p:nvSpPr>
        <p:spPr bwMode="auto">
          <a:xfrm>
            <a:off x="2658666" y="921544"/>
            <a:ext cx="3946922" cy="3423047"/>
          </a:xfrm>
          <a:prstGeom prst="rect">
            <a:avLst/>
          </a:prstGeom>
          <a:solidFill>
            <a:srgbClr val="00649D">
              <a:alpha val="18039"/>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defTabSz="912813">
              <a:defRPr kumimoji="1">
                <a:solidFill>
                  <a:schemeClr val="tx1"/>
                </a:solidFill>
                <a:latin typeface="Arial" pitchFamily="34" charset="0"/>
                <a:ea typeface="MS PGothic" pitchFamily="34" charset="-128"/>
              </a:defRPr>
            </a:lvl1pPr>
            <a:lvl2pPr marL="742950" indent="-285750" defTabSz="912813">
              <a:defRPr kumimoji="1">
                <a:solidFill>
                  <a:schemeClr val="tx1"/>
                </a:solidFill>
                <a:latin typeface="Arial" pitchFamily="34" charset="0"/>
                <a:ea typeface="MS PGothic" pitchFamily="34" charset="-128"/>
              </a:defRPr>
            </a:lvl2pPr>
            <a:lvl3pPr marL="1143000" indent="-228600" defTabSz="912813">
              <a:defRPr kumimoji="1">
                <a:solidFill>
                  <a:schemeClr val="tx1"/>
                </a:solidFill>
                <a:latin typeface="Arial" pitchFamily="34" charset="0"/>
                <a:ea typeface="MS PGothic" pitchFamily="34" charset="-128"/>
              </a:defRPr>
            </a:lvl3pPr>
            <a:lvl4pPr marL="1600200" indent="-228600" defTabSz="912813">
              <a:defRPr kumimoji="1">
                <a:solidFill>
                  <a:schemeClr val="tx1"/>
                </a:solidFill>
                <a:latin typeface="Arial" pitchFamily="34" charset="0"/>
                <a:ea typeface="MS PGothic" pitchFamily="34" charset="-128"/>
              </a:defRPr>
            </a:lvl4pPr>
            <a:lvl5pPr marL="2057400" indent="-228600" defTabSz="912813">
              <a:defRPr kumimoji="1">
                <a:solidFill>
                  <a:schemeClr val="tx1"/>
                </a:solidFill>
                <a:latin typeface="Arial" pitchFamily="34" charset="0"/>
                <a:ea typeface="MS PGothic" pitchFamily="34" charset="-128"/>
              </a:defRPr>
            </a:lvl5pPr>
            <a:lvl6pPr marL="2514600" indent="-228600" defTabSz="912813" eaLnBrk="0" fontAlgn="base" hangingPunct="0">
              <a:spcBef>
                <a:spcPct val="0"/>
              </a:spcBef>
              <a:spcAft>
                <a:spcPct val="0"/>
              </a:spcAft>
              <a:defRPr kumimoji="1">
                <a:solidFill>
                  <a:schemeClr val="tx1"/>
                </a:solidFill>
                <a:latin typeface="Arial" pitchFamily="34" charset="0"/>
                <a:ea typeface="MS PGothic" pitchFamily="34" charset="-128"/>
              </a:defRPr>
            </a:lvl6pPr>
            <a:lvl7pPr marL="2971800" indent="-228600" defTabSz="912813" eaLnBrk="0" fontAlgn="base" hangingPunct="0">
              <a:spcBef>
                <a:spcPct val="0"/>
              </a:spcBef>
              <a:spcAft>
                <a:spcPct val="0"/>
              </a:spcAft>
              <a:defRPr kumimoji="1">
                <a:solidFill>
                  <a:schemeClr val="tx1"/>
                </a:solidFill>
                <a:latin typeface="Arial" pitchFamily="34" charset="0"/>
                <a:ea typeface="MS PGothic" pitchFamily="34" charset="-128"/>
              </a:defRPr>
            </a:lvl7pPr>
            <a:lvl8pPr marL="3429000" indent="-228600" defTabSz="912813" eaLnBrk="0" fontAlgn="base" hangingPunct="0">
              <a:spcBef>
                <a:spcPct val="0"/>
              </a:spcBef>
              <a:spcAft>
                <a:spcPct val="0"/>
              </a:spcAft>
              <a:defRPr kumimoji="1">
                <a:solidFill>
                  <a:schemeClr val="tx1"/>
                </a:solidFill>
                <a:latin typeface="Arial" pitchFamily="34" charset="0"/>
                <a:ea typeface="MS PGothic" pitchFamily="34" charset="-128"/>
              </a:defRPr>
            </a:lvl8pPr>
            <a:lvl9pPr marL="3886200" indent="-228600" defTabSz="912813" eaLnBrk="0" fontAlgn="base" hangingPunct="0">
              <a:spcBef>
                <a:spcPct val="0"/>
              </a:spcBef>
              <a:spcAft>
                <a:spcPct val="0"/>
              </a:spcAft>
              <a:defRPr kumimoji="1">
                <a:solidFill>
                  <a:schemeClr val="tx1"/>
                </a:solidFill>
                <a:latin typeface="Arial" pitchFamily="34" charset="0"/>
                <a:ea typeface="MS PGothic" pitchFamily="34" charset="-128"/>
              </a:defRPr>
            </a:lvl9pPr>
          </a:lstStyle>
          <a:p>
            <a:pPr defTabSz="684610">
              <a:defRPr/>
            </a:pPr>
            <a:r>
              <a:rPr lang="en-US" altLang="en-US" sz="1350" b="1" i="1" kern="0">
                <a:solidFill>
                  <a:srgbClr val="000000"/>
                </a:solidFill>
                <a:cs typeface="Arial"/>
              </a:rPr>
              <a:t>Analyze</a:t>
            </a:r>
          </a:p>
        </p:txBody>
      </p:sp>
      <p:sp>
        <p:nvSpPr>
          <p:cNvPr id="270" name="Rectangle 37"/>
          <p:cNvSpPr>
            <a:spLocks noChangeArrowheads="1"/>
          </p:cNvSpPr>
          <p:nvPr/>
        </p:nvSpPr>
        <p:spPr bwMode="auto">
          <a:xfrm>
            <a:off x="6687741" y="913210"/>
            <a:ext cx="2218134" cy="3420665"/>
          </a:xfrm>
          <a:prstGeom prst="rect">
            <a:avLst/>
          </a:prstGeom>
          <a:solidFill>
            <a:srgbClr val="00649D">
              <a:alpha val="18039"/>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defTabSz="912813">
              <a:defRPr kumimoji="1">
                <a:solidFill>
                  <a:schemeClr val="tx1"/>
                </a:solidFill>
                <a:latin typeface="Arial" pitchFamily="34" charset="0"/>
                <a:ea typeface="MS PGothic" pitchFamily="34" charset="-128"/>
              </a:defRPr>
            </a:lvl1pPr>
            <a:lvl2pPr marL="742950" indent="-285750" defTabSz="912813">
              <a:defRPr kumimoji="1">
                <a:solidFill>
                  <a:schemeClr val="tx1"/>
                </a:solidFill>
                <a:latin typeface="Arial" pitchFamily="34" charset="0"/>
                <a:ea typeface="MS PGothic" pitchFamily="34" charset="-128"/>
              </a:defRPr>
            </a:lvl2pPr>
            <a:lvl3pPr marL="1143000" indent="-228600" defTabSz="912813">
              <a:defRPr kumimoji="1">
                <a:solidFill>
                  <a:schemeClr val="tx1"/>
                </a:solidFill>
                <a:latin typeface="Arial" pitchFamily="34" charset="0"/>
                <a:ea typeface="MS PGothic" pitchFamily="34" charset="-128"/>
              </a:defRPr>
            </a:lvl3pPr>
            <a:lvl4pPr marL="1600200" indent="-228600" defTabSz="912813">
              <a:defRPr kumimoji="1">
                <a:solidFill>
                  <a:schemeClr val="tx1"/>
                </a:solidFill>
                <a:latin typeface="Arial" pitchFamily="34" charset="0"/>
                <a:ea typeface="MS PGothic" pitchFamily="34" charset="-128"/>
              </a:defRPr>
            </a:lvl4pPr>
            <a:lvl5pPr marL="2057400" indent="-228600" defTabSz="912813">
              <a:defRPr kumimoji="1">
                <a:solidFill>
                  <a:schemeClr val="tx1"/>
                </a:solidFill>
                <a:latin typeface="Arial" pitchFamily="34" charset="0"/>
                <a:ea typeface="MS PGothic" pitchFamily="34" charset="-128"/>
              </a:defRPr>
            </a:lvl5pPr>
            <a:lvl6pPr marL="2514600" indent="-228600" defTabSz="912813" eaLnBrk="0" fontAlgn="base" hangingPunct="0">
              <a:spcBef>
                <a:spcPct val="0"/>
              </a:spcBef>
              <a:spcAft>
                <a:spcPct val="0"/>
              </a:spcAft>
              <a:defRPr kumimoji="1">
                <a:solidFill>
                  <a:schemeClr val="tx1"/>
                </a:solidFill>
                <a:latin typeface="Arial" pitchFamily="34" charset="0"/>
                <a:ea typeface="MS PGothic" pitchFamily="34" charset="-128"/>
              </a:defRPr>
            </a:lvl6pPr>
            <a:lvl7pPr marL="2971800" indent="-228600" defTabSz="912813" eaLnBrk="0" fontAlgn="base" hangingPunct="0">
              <a:spcBef>
                <a:spcPct val="0"/>
              </a:spcBef>
              <a:spcAft>
                <a:spcPct val="0"/>
              </a:spcAft>
              <a:defRPr kumimoji="1">
                <a:solidFill>
                  <a:schemeClr val="tx1"/>
                </a:solidFill>
                <a:latin typeface="Arial" pitchFamily="34" charset="0"/>
                <a:ea typeface="MS PGothic" pitchFamily="34" charset="-128"/>
              </a:defRPr>
            </a:lvl7pPr>
            <a:lvl8pPr marL="3429000" indent="-228600" defTabSz="912813" eaLnBrk="0" fontAlgn="base" hangingPunct="0">
              <a:spcBef>
                <a:spcPct val="0"/>
              </a:spcBef>
              <a:spcAft>
                <a:spcPct val="0"/>
              </a:spcAft>
              <a:defRPr kumimoji="1">
                <a:solidFill>
                  <a:schemeClr val="tx1"/>
                </a:solidFill>
                <a:latin typeface="Arial" pitchFamily="34" charset="0"/>
                <a:ea typeface="MS PGothic" pitchFamily="34" charset="-128"/>
              </a:defRPr>
            </a:lvl8pPr>
            <a:lvl9pPr marL="3886200" indent="-228600" defTabSz="912813" eaLnBrk="0" fontAlgn="base" hangingPunct="0">
              <a:spcBef>
                <a:spcPct val="0"/>
              </a:spcBef>
              <a:spcAft>
                <a:spcPct val="0"/>
              </a:spcAft>
              <a:defRPr kumimoji="1">
                <a:solidFill>
                  <a:schemeClr val="tx1"/>
                </a:solidFill>
                <a:latin typeface="Arial" pitchFamily="34" charset="0"/>
                <a:ea typeface="MS PGothic" pitchFamily="34" charset="-128"/>
              </a:defRPr>
            </a:lvl9pPr>
          </a:lstStyle>
          <a:p>
            <a:pPr defTabSz="684610">
              <a:defRPr/>
            </a:pPr>
            <a:r>
              <a:rPr lang="en-US" altLang="en-US" sz="1350" b="1" i="1" kern="0">
                <a:solidFill>
                  <a:srgbClr val="000000"/>
                </a:solidFill>
                <a:cs typeface="Arial"/>
              </a:rPr>
              <a:t>Act</a:t>
            </a:r>
          </a:p>
        </p:txBody>
      </p:sp>
      <p:sp>
        <p:nvSpPr>
          <p:cNvPr id="271" name="Rectangle 270"/>
          <p:cNvSpPr/>
          <p:nvPr/>
        </p:nvSpPr>
        <p:spPr bwMode="auto">
          <a:xfrm>
            <a:off x="295276" y="2278857"/>
            <a:ext cx="8622506" cy="184547"/>
          </a:xfrm>
          <a:prstGeom prst="rect">
            <a:avLst/>
          </a:prstGeom>
          <a:solidFill>
            <a:srgbClr val="000000">
              <a:lumMod val="50000"/>
              <a:alpha val="75000"/>
            </a:srgbClr>
          </a:solidFill>
          <a:ln w="9525" cap="flat" cmpd="sng" algn="ctr">
            <a:noFill/>
            <a:prstDash val="solid"/>
            <a:round/>
            <a:headEnd type="none" w="med" len="med"/>
            <a:tailEnd type="none" w="med" len="med"/>
          </a:ln>
          <a:effectLst/>
        </p:spPr>
        <p:txBody>
          <a:bodyPr anchor="ctr"/>
          <a:lstStyle/>
          <a:p>
            <a:pPr defTabSz="685783">
              <a:defRPr/>
            </a:pPr>
            <a:r>
              <a:rPr lang="en-US" sz="1100" b="1" i="1" kern="0" dirty="0">
                <a:solidFill>
                  <a:srgbClr val="FFFFFF"/>
                </a:solidFill>
                <a:latin typeface="Arial" charset="0"/>
                <a:ea typeface="ＭＳ Ｐゴシック" charset="-128"/>
                <a:cs typeface="Arial"/>
              </a:rPr>
              <a:t>DATA / TECHNOLOGY</a:t>
            </a:r>
          </a:p>
        </p:txBody>
      </p:sp>
      <p:sp>
        <p:nvSpPr>
          <p:cNvPr id="272" name="Rectangle 271"/>
          <p:cNvSpPr/>
          <p:nvPr/>
        </p:nvSpPr>
        <p:spPr bwMode="auto">
          <a:xfrm>
            <a:off x="300038" y="3580210"/>
            <a:ext cx="8622506" cy="184547"/>
          </a:xfrm>
          <a:prstGeom prst="rect">
            <a:avLst/>
          </a:prstGeom>
          <a:solidFill>
            <a:srgbClr val="000000">
              <a:lumMod val="50000"/>
              <a:alpha val="75000"/>
            </a:srgbClr>
          </a:solidFill>
          <a:ln w="9525" cap="flat" cmpd="sng" algn="ctr">
            <a:noFill/>
            <a:prstDash val="solid"/>
            <a:round/>
            <a:headEnd type="none" w="med" len="med"/>
            <a:tailEnd type="none" w="med" len="med"/>
          </a:ln>
          <a:effectLst/>
        </p:spPr>
        <p:txBody>
          <a:bodyPr anchor="ctr"/>
          <a:lstStyle/>
          <a:p>
            <a:pPr defTabSz="685783">
              <a:defRPr/>
            </a:pPr>
            <a:r>
              <a:rPr lang="en-US" sz="1100" b="1" i="1" kern="0" dirty="0">
                <a:solidFill>
                  <a:srgbClr val="FFFFFF"/>
                </a:solidFill>
                <a:latin typeface="Arial" charset="0"/>
                <a:ea typeface="ＭＳ Ｐゴシック" charset="-128"/>
                <a:cs typeface="Arial"/>
              </a:rPr>
              <a:t>INTERFACE FUNCTIONALITY</a:t>
            </a:r>
          </a:p>
        </p:txBody>
      </p:sp>
      <p:sp>
        <p:nvSpPr>
          <p:cNvPr id="273" name="Rectangle 272"/>
          <p:cNvSpPr/>
          <p:nvPr/>
        </p:nvSpPr>
        <p:spPr bwMode="auto">
          <a:xfrm>
            <a:off x="295276" y="4414837"/>
            <a:ext cx="8622506" cy="481013"/>
          </a:xfrm>
          <a:prstGeom prst="rect">
            <a:avLst/>
          </a:prstGeom>
          <a:solidFill>
            <a:srgbClr val="003F69">
              <a:lumMod val="50000"/>
              <a:alpha val="75000"/>
            </a:srgbClr>
          </a:solidFill>
          <a:ln w="9525" cap="flat" cmpd="sng" algn="ctr">
            <a:noFill/>
            <a:prstDash val="solid"/>
            <a:round/>
            <a:headEnd type="none" w="med" len="med"/>
            <a:tailEnd type="none" w="med" len="med"/>
          </a:ln>
          <a:effectLst/>
        </p:spPr>
        <p:txBody>
          <a:bodyPr anchor="ctr"/>
          <a:lstStyle/>
          <a:p>
            <a:pPr defTabSz="685783">
              <a:defRPr/>
            </a:pPr>
            <a:r>
              <a:rPr lang="en-US" sz="1100" b="1" i="1" kern="0" dirty="0">
                <a:solidFill>
                  <a:srgbClr val="FFFFFF"/>
                </a:solidFill>
                <a:latin typeface="Arial" charset="0"/>
                <a:ea typeface="ＭＳ Ｐゴシック" charset="-128"/>
                <a:cs typeface="Arial"/>
              </a:rPr>
              <a:t>DELIVERABLES</a:t>
            </a:r>
          </a:p>
        </p:txBody>
      </p:sp>
      <p:cxnSp>
        <p:nvCxnSpPr>
          <p:cNvPr id="26640" name="Straight Connector 2"/>
          <p:cNvCxnSpPr>
            <a:cxnSpLocks noChangeShapeType="1"/>
          </p:cNvCxnSpPr>
          <p:nvPr/>
        </p:nvCxnSpPr>
        <p:spPr bwMode="auto">
          <a:xfrm flipH="1">
            <a:off x="1601391" y="4482704"/>
            <a:ext cx="0" cy="342900"/>
          </a:xfrm>
          <a:prstGeom prst="line">
            <a:avLst/>
          </a:prstGeom>
          <a:noFill/>
          <a:ln w="28575" algn="ctr">
            <a:solidFill>
              <a:srgbClr val="FFFFFF"/>
            </a:solidFill>
            <a:round/>
            <a:headEnd/>
            <a:tailEnd/>
          </a:ln>
          <a:extLst>
            <a:ext uri="{909E8E84-426E-40DD-AFC4-6F175D3DCCD1}">
              <a14:hiddenFill xmlns:a14="http://schemas.microsoft.com/office/drawing/2010/main">
                <a:noFill/>
              </a14:hiddenFill>
            </a:ext>
          </a:extLst>
        </p:spPr>
      </p:cxnSp>
      <p:sp>
        <p:nvSpPr>
          <p:cNvPr id="26641" name="Rounded Rectangle 19"/>
          <p:cNvSpPr>
            <a:spLocks noChangeArrowheads="1"/>
          </p:cNvSpPr>
          <p:nvPr/>
        </p:nvSpPr>
        <p:spPr bwMode="auto">
          <a:xfrm>
            <a:off x="3596879" y="4400550"/>
            <a:ext cx="1350169" cy="495300"/>
          </a:xfrm>
          <a:prstGeom prst="roundRect">
            <a:avLst>
              <a:gd name="adj" fmla="val 5699"/>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57150" tIns="28575" rIns="11430" bIns="28575" anchor="ctr"/>
          <a:lstStyle>
            <a:lvl1pPr defTabSz="760413">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defTabSz="760413">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defTabSz="760413">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defTabSz="760413">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defTabSz="760413">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defTabSz="760413"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defTabSz="760413"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defTabSz="760413"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defTabSz="760413"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570310" fontAlgn="base">
              <a:spcBef>
                <a:spcPct val="0"/>
              </a:spcBef>
              <a:spcAft>
                <a:spcPct val="0"/>
              </a:spcAft>
              <a:buClrTx/>
              <a:buNone/>
            </a:pPr>
            <a:r>
              <a:rPr kumimoji="1" lang="en-US" altLang="en-US" sz="675" b="1">
                <a:solidFill>
                  <a:srgbClr val="FFFFFF"/>
                </a:solidFill>
                <a:latin typeface="Avenir Book"/>
                <a:ea typeface="MS PGothic" panose="020B0600070205080204" pitchFamily="34" charset="-128"/>
                <a:cs typeface="Arial" panose="020B0604020202020204" pitchFamily="34" charset="0"/>
              </a:rPr>
              <a:t>Model </a:t>
            </a:r>
          </a:p>
          <a:p>
            <a:pPr defTabSz="570310" fontAlgn="base">
              <a:spcBef>
                <a:spcPct val="0"/>
              </a:spcBef>
              <a:spcAft>
                <a:spcPct val="0"/>
              </a:spcAft>
              <a:buClrTx/>
              <a:buNone/>
            </a:pPr>
            <a:r>
              <a:rPr kumimoji="1" lang="en-US" altLang="en-US" sz="675" b="1">
                <a:solidFill>
                  <a:srgbClr val="FFFFFF"/>
                </a:solidFill>
                <a:latin typeface="Avenir Book"/>
                <a:ea typeface="MS PGothic" panose="020B0600070205080204" pitchFamily="34" charset="-128"/>
                <a:cs typeface="Arial" panose="020B0604020202020204" pitchFamily="34" charset="0"/>
              </a:rPr>
              <a:t>Documentation</a:t>
            </a:r>
          </a:p>
          <a:p>
            <a:pPr defTabSz="570310" fontAlgn="base">
              <a:spcBef>
                <a:spcPct val="0"/>
              </a:spcBef>
              <a:spcAft>
                <a:spcPct val="0"/>
              </a:spcAft>
              <a:buClrTx/>
              <a:buNone/>
            </a:pPr>
            <a:r>
              <a:rPr kumimoji="1" lang="en-US" altLang="en-US" sz="675" b="1">
                <a:solidFill>
                  <a:srgbClr val="FFFFFF"/>
                </a:solidFill>
                <a:latin typeface="Avenir Book"/>
                <a:ea typeface="MS PGothic" panose="020B0600070205080204" pitchFamily="34" charset="-128"/>
                <a:cs typeface="Arial" panose="020B0604020202020204" pitchFamily="34" charset="0"/>
              </a:rPr>
              <a:t>&amp; Training</a:t>
            </a:r>
          </a:p>
        </p:txBody>
      </p:sp>
      <p:sp>
        <p:nvSpPr>
          <p:cNvPr id="26642" name="Rounded Rectangle 20"/>
          <p:cNvSpPr>
            <a:spLocks noChangeArrowheads="1"/>
          </p:cNvSpPr>
          <p:nvPr/>
        </p:nvSpPr>
        <p:spPr bwMode="auto">
          <a:xfrm>
            <a:off x="1939529" y="4392217"/>
            <a:ext cx="1200150" cy="496490"/>
          </a:xfrm>
          <a:prstGeom prst="roundRect">
            <a:avLst>
              <a:gd name="adj" fmla="val 5699"/>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57150" tIns="28575" rIns="11430" bIns="28575" anchor="ctr"/>
          <a:lstStyle>
            <a:lvl1pPr defTabSz="760413">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defTabSz="760413">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defTabSz="760413">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defTabSz="760413">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defTabSz="760413">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defTabSz="760413"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defTabSz="760413"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defTabSz="760413"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defTabSz="760413"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570310" fontAlgn="base">
              <a:spcBef>
                <a:spcPct val="0"/>
              </a:spcBef>
              <a:spcAft>
                <a:spcPct val="0"/>
              </a:spcAft>
              <a:buClrTx/>
              <a:buNone/>
            </a:pPr>
            <a:r>
              <a:rPr kumimoji="1" lang="en-US" altLang="en-US" sz="675" b="1">
                <a:solidFill>
                  <a:srgbClr val="FFFFFF"/>
                </a:solidFill>
                <a:latin typeface="Avenir Book"/>
                <a:ea typeface="MS PGothic" panose="020B0600070205080204" pitchFamily="34" charset="-128"/>
                <a:cs typeface="Arial" panose="020B0604020202020204" pitchFamily="34" charset="0"/>
              </a:rPr>
              <a:t>Yield </a:t>
            </a:r>
          </a:p>
          <a:p>
            <a:pPr defTabSz="570310" fontAlgn="base">
              <a:spcBef>
                <a:spcPct val="0"/>
              </a:spcBef>
              <a:spcAft>
                <a:spcPct val="0"/>
              </a:spcAft>
              <a:buClrTx/>
              <a:buNone/>
            </a:pPr>
            <a:r>
              <a:rPr kumimoji="1" lang="en-US" altLang="en-US" sz="675" b="1">
                <a:solidFill>
                  <a:srgbClr val="FFFFFF"/>
                </a:solidFill>
                <a:latin typeface="Avenir Book"/>
                <a:ea typeface="MS PGothic" panose="020B0600070205080204" pitchFamily="34" charset="-128"/>
                <a:cs typeface="Arial" panose="020B0604020202020204" pitchFamily="34" charset="0"/>
              </a:rPr>
              <a:t>Forecast </a:t>
            </a:r>
          </a:p>
        </p:txBody>
      </p:sp>
      <p:sp>
        <p:nvSpPr>
          <p:cNvPr id="26643" name="Rounded Rectangle 22"/>
          <p:cNvSpPr>
            <a:spLocks noChangeArrowheads="1"/>
          </p:cNvSpPr>
          <p:nvPr/>
        </p:nvSpPr>
        <p:spPr bwMode="auto">
          <a:xfrm>
            <a:off x="5575697" y="4416029"/>
            <a:ext cx="1200150" cy="496490"/>
          </a:xfrm>
          <a:prstGeom prst="roundRect">
            <a:avLst>
              <a:gd name="adj" fmla="val 5699"/>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57150" tIns="28575" rIns="11430" bIns="28575" anchor="ctr"/>
          <a:lstStyle>
            <a:lvl1pPr defTabSz="760413">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defTabSz="760413">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defTabSz="760413">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defTabSz="760413">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defTabSz="760413">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defTabSz="760413"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defTabSz="760413"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defTabSz="760413"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defTabSz="760413"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570310" fontAlgn="base">
              <a:spcBef>
                <a:spcPct val="0"/>
              </a:spcBef>
              <a:spcAft>
                <a:spcPct val="0"/>
              </a:spcAft>
              <a:buClrTx/>
              <a:buNone/>
            </a:pPr>
            <a:r>
              <a:rPr kumimoji="1" lang="en-US" altLang="en-US" sz="675" b="1">
                <a:solidFill>
                  <a:srgbClr val="FFFFFF"/>
                </a:solidFill>
                <a:latin typeface="Avenir Book"/>
                <a:ea typeface="MS PGothic" panose="020B0600070205080204" pitchFamily="34" charset="-128"/>
                <a:cs typeface="Arial" panose="020B0604020202020204" pitchFamily="34" charset="0"/>
              </a:rPr>
              <a:t>Enhanced</a:t>
            </a:r>
          </a:p>
          <a:p>
            <a:pPr defTabSz="570310" fontAlgn="base">
              <a:spcBef>
                <a:spcPct val="0"/>
              </a:spcBef>
              <a:spcAft>
                <a:spcPct val="0"/>
              </a:spcAft>
              <a:buClrTx/>
              <a:buNone/>
            </a:pPr>
            <a:r>
              <a:rPr kumimoji="1" lang="en-US" altLang="en-US" sz="675" b="1">
                <a:solidFill>
                  <a:srgbClr val="FFFFFF"/>
                </a:solidFill>
                <a:latin typeface="Avenir Book"/>
                <a:ea typeface="MS PGothic" panose="020B0600070205080204" pitchFamily="34" charset="-128"/>
                <a:cs typeface="Arial" panose="020B0604020202020204" pitchFamily="34" charset="0"/>
              </a:rPr>
              <a:t>Business </a:t>
            </a:r>
          </a:p>
          <a:p>
            <a:pPr defTabSz="570310" fontAlgn="base">
              <a:spcBef>
                <a:spcPct val="0"/>
              </a:spcBef>
              <a:spcAft>
                <a:spcPct val="0"/>
              </a:spcAft>
              <a:buClrTx/>
              <a:buNone/>
            </a:pPr>
            <a:r>
              <a:rPr kumimoji="1" lang="en-US" altLang="en-US" sz="675" b="1">
                <a:solidFill>
                  <a:srgbClr val="FFFFFF"/>
                </a:solidFill>
                <a:latin typeface="Avenir Book"/>
                <a:ea typeface="MS PGothic" panose="020B0600070205080204" pitchFamily="34" charset="-128"/>
                <a:cs typeface="Arial" panose="020B0604020202020204" pitchFamily="34" charset="0"/>
              </a:rPr>
              <a:t>Case</a:t>
            </a:r>
          </a:p>
        </p:txBody>
      </p:sp>
      <p:sp>
        <p:nvSpPr>
          <p:cNvPr id="26644" name="Rounded Rectangle 23"/>
          <p:cNvSpPr>
            <a:spLocks noChangeArrowheads="1"/>
          </p:cNvSpPr>
          <p:nvPr/>
        </p:nvSpPr>
        <p:spPr bwMode="auto">
          <a:xfrm>
            <a:off x="7375922" y="4399360"/>
            <a:ext cx="1200150" cy="496490"/>
          </a:xfrm>
          <a:prstGeom prst="roundRect">
            <a:avLst>
              <a:gd name="adj" fmla="val 5699"/>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57150" tIns="28575" rIns="11430" bIns="28575" anchor="ctr"/>
          <a:lstStyle>
            <a:lvl1pPr defTabSz="760413">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defTabSz="760413">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defTabSz="760413">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defTabSz="760413">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defTabSz="760413">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defTabSz="760413"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defTabSz="760413"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defTabSz="760413"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defTabSz="760413"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570310" fontAlgn="base">
              <a:spcBef>
                <a:spcPct val="0"/>
              </a:spcBef>
              <a:spcAft>
                <a:spcPct val="0"/>
              </a:spcAft>
              <a:buClrTx/>
              <a:buNone/>
            </a:pPr>
            <a:r>
              <a:rPr kumimoji="1" lang="en-US" altLang="en-US" sz="675" b="1">
                <a:solidFill>
                  <a:srgbClr val="FFFFFF"/>
                </a:solidFill>
                <a:latin typeface="Avenir Book"/>
                <a:ea typeface="MS PGothic" panose="020B0600070205080204" pitchFamily="34" charset="-128"/>
                <a:cs typeface="Arial" panose="020B0604020202020204" pitchFamily="34" charset="0"/>
              </a:rPr>
              <a:t>Dashboard </a:t>
            </a:r>
          </a:p>
          <a:p>
            <a:pPr defTabSz="570310" fontAlgn="base">
              <a:spcBef>
                <a:spcPct val="0"/>
              </a:spcBef>
              <a:spcAft>
                <a:spcPct val="0"/>
              </a:spcAft>
              <a:buClrTx/>
              <a:buNone/>
            </a:pPr>
            <a:r>
              <a:rPr kumimoji="1" lang="en-US" altLang="en-US" sz="675" b="1">
                <a:solidFill>
                  <a:srgbClr val="FFFFFF"/>
                </a:solidFill>
                <a:latin typeface="Avenir Book"/>
                <a:ea typeface="MS PGothic" panose="020B0600070205080204" pitchFamily="34" charset="-128"/>
                <a:cs typeface="Arial" panose="020B0604020202020204" pitchFamily="34" charset="0"/>
              </a:rPr>
              <a:t>w/ Weather-</a:t>
            </a:r>
          </a:p>
          <a:p>
            <a:pPr defTabSz="570310" fontAlgn="base">
              <a:spcBef>
                <a:spcPct val="0"/>
              </a:spcBef>
              <a:spcAft>
                <a:spcPct val="0"/>
              </a:spcAft>
              <a:buClrTx/>
              <a:buNone/>
            </a:pPr>
            <a:r>
              <a:rPr kumimoji="1" lang="en-US" altLang="en-US" sz="675" b="1">
                <a:solidFill>
                  <a:srgbClr val="FFFFFF"/>
                </a:solidFill>
                <a:latin typeface="Avenir Book"/>
                <a:ea typeface="MS PGothic" panose="020B0600070205080204" pitchFamily="34" charset="-128"/>
                <a:cs typeface="Arial" panose="020B0604020202020204" pitchFamily="34" charset="0"/>
              </a:rPr>
              <a:t>Based Insight</a:t>
            </a:r>
          </a:p>
        </p:txBody>
      </p:sp>
      <p:pic>
        <p:nvPicPr>
          <p:cNvPr id="26645" name="Picture 72" descr="AMS-provide_BI_technical_leadership.png"/>
          <p:cNvPicPr>
            <a:picLocks noChangeAspect="1"/>
          </p:cNvPicPr>
          <p:nvPr/>
        </p:nvPicPr>
        <p:blipFill>
          <a:blip r:embed="rId8">
            <a:grayscl/>
            <a:biLevel thresh="50000"/>
            <a:extLst>
              <a:ext uri="{28A0092B-C50C-407E-A947-70E740481C1C}">
                <a14:useLocalDpi xmlns:a14="http://schemas.microsoft.com/office/drawing/2010/main" val="0"/>
              </a:ext>
            </a:extLst>
          </a:blip>
          <a:srcRect/>
          <a:stretch>
            <a:fillRect/>
          </a:stretch>
        </p:blipFill>
        <p:spPr bwMode="auto">
          <a:xfrm>
            <a:off x="2562225" y="4635104"/>
            <a:ext cx="523875" cy="167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46" name="Picture 247"/>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177212" y="4499372"/>
            <a:ext cx="310754"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47" name="Picture 246"/>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351985" y="4502944"/>
            <a:ext cx="347663" cy="346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48" name="Picture 7"/>
          <p:cNvPicPr>
            <a:picLocks noChangeAspect="1" noChangeArrowheads="1"/>
          </p:cNvPicPr>
          <p:nvPr/>
        </p:nvPicPr>
        <p:blipFill>
          <a:blip r:embed="rId11" cstate="print">
            <a:lum bright="70000" contrast="-70000"/>
            <a:extLst>
              <a:ext uri="{28A0092B-C50C-407E-A947-70E740481C1C}">
                <a14:useLocalDpi xmlns:a14="http://schemas.microsoft.com/office/drawing/2010/main" val="0"/>
              </a:ext>
            </a:extLst>
          </a:blip>
          <a:srcRect/>
          <a:stretch>
            <a:fillRect/>
          </a:stretch>
        </p:blipFill>
        <p:spPr bwMode="auto">
          <a:xfrm>
            <a:off x="4545806" y="4487466"/>
            <a:ext cx="3238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49" name="Picture 35" descr="https://cdn2.iconfinder.com/data/icons/perfect-flat-icons-2/512/Reports_report_document_graph_chart_list.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416529" y="3860007"/>
            <a:ext cx="377428" cy="378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50" name="Picture 47" descr="https://www.mikeafford.com/store/store-images/ms02_example_heavy_rain_showers.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229917" y="2963466"/>
            <a:ext cx="315515"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51" name="Picture 2" descr="http://www.iconsplace.com/download/orange-database-256.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269206" y="2701529"/>
            <a:ext cx="223838" cy="225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52" name="TextBox 300"/>
          <p:cNvSpPr txBox="1">
            <a:spLocks noChangeArrowheads="1"/>
          </p:cNvSpPr>
          <p:nvPr/>
        </p:nvSpPr>
        <p:spPr bwMode="auto">
          <a:xfrm>
            <a:off x="503635" y="3935016"/>
            <a:ext cx="64412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algn="ctr" defTabSz="685800" fontAlgn="base">
              <a:spcBef>
                <a:spcPct val="0"/>
              </a:spcBef>
              <a:spcAft>
                <a:spcPct val="0"/>
              </a:spcAft>
              <a:buClrTx/>
              <a:buNone/>
            </a:pPr>
            <a:r>
              <a:rPr kumimoji="1" lang="en-US" altLang="en-US" sz="600" b="1">
                <a:solidFill>
                  <a:srgbClr val="000000"/>
                </a:solidFill>
                <a:ea typeface="MS PGothic" panose="020B0600070205080204" pitchFamily="34" charset="-128"/>
                <a:cs typeface="Arial" panose="020B0604020202020204" pitchFamily="34" charset="0"/>
              </a:rPr>
              <a:t>Weather Forecast</a:t>
            </a:r>
          </a:p>
          <a:p>
            <a:pPr algn="ctr" defTabSz="685800" fontAlgn="base">
              <a:spcBef>
                <a:spcPct val="0"/>
              </a:spcBef>
              <a:spcAft>
                <a:spcPct val="0"/>
              </a:spcAft>
              <a:buClrTx/>
              <a:buNone/>
            </a:pPr>
            <a:r>
              <a:rPr kumimoji="1" lang="en-US" altLang="en-US" sz="600" b="1">
                <a:solidFill>
                  <a:srgbClr val="000000"/>
                </a:solidFill>
                <a:ea typeface="MS PGothic" panose="020B0600070205080204" pitchFamily="34" charset="-128"/>
                <a:cs typeface="Arial" panose="020B0604020202020204" pitchFamily="34" charset="0"/>
              </a:rPr>
              <a:t>NDVI Index</a:t>
            </a:r>
          </a:p>
        </p:txBody>
      </p:sp>
      <p:sp>
        <p:nvSpPr>
          <p:cNvPr id="26653" name="Rectangle 91"/>
          <p:cNvSpPr>
            <a:spLocks noChangeArrowheads="1"/>
          </p:cNvSpPr>
          <p:nvPr/>
        </p:nvSpPr>
        <p:spPr bwMode="auto">
          <a:xfrm>
            <a:off x="526257" y="2715816"/>
            <a:ext cx="703660"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algn="r" defTabSz="685800" fontAlgn="base">
              <a:spcBef>
                <a:spcPct val="0"/>
              </a:spcBef>
              <a:spcAft>
                <a:spcPct val="0"/>
              </a:spcAft>
              <a:buClrTx/>
              <a:buNone/>
            </a:pPr>
            <a:r>
              <a:rPr kumimoji="1" lang="en-GB" altLang="en-US" sz="675">
                <a:solidFill>
                  <a:srgbClr val="000000"/>
                </a:solidFill>
                <a:ea typeface="MS PGothic" panose="020B0600070205080204" pitchFamily="34" charset="-128"/>
                <a:cs typeface="Arial" panose="020B0604020202020204" pitchFamily="34" charset="0"/>
              </a:rPr>
              <a:t>Mkt Price Data</a:t>
            </a:r>
          </a:p>
          <a:p>
            <a:pPr algn="r" defTabSz="685800" fontAlgn="base">
              <a:spcBef>
                <a:spcPct val="0"/>
              </a:spcBef>
              <a:spcAft>
                <a:spcPct val="0"/>
              </a:spcAft>
              <a:buClrTx/>
              <a:buNone/>
            </a:pPr>
            <a:r>
              <a:rPr kumimoji="1" lang="en-GB" altLang="en-US" sz="675">
                <a:solidFill>
                  <a:srgbClr val="000000"/>
                </a:solidFill>
                <a:ea typeface="MS PGothic" panose="020B0600070205080204" pitchFamily="34" charset="-128"/>
                <a:cs typeface="Arial" panose="020B0604020202020204" pitchFamily="34" charset="0"/>
              </a:rPr>
              <a:t>YTD Yields Data</a:t>
            </a:r>
          </a:p>
        </p:txBody>
      </p:sp>
      <p:pic>
        <p:nvPicPr>
          <p:cNvPr id="26654" name="Picture 2" descr="http://bergcloud.com/assets/berg/devcenter/icons/api_cloud-6fa0e59656d544111627ad9bab09e043.png"/>
          <p:cNvPicPr>
            <a:picLocks noChangeAspect="1" noChangeArrowheads="1"/>
          </p:cNvPicPr>
          <p:nvPr/>
        </p:nvPicPr>
        <p:blipFill>
          <a:blip r:embed="rId15" cstate="print">
            <a:clrChange>
              <a:clrFrom>
                <a:srgbClr val="EDEDED"/>
              </a:clrFrom>
              <a:clrTo>
                <a:srgbClr val="EDEDED">
                  <a:alpha val="0"/>
                </a:srgbClr>
              </a:clrTo>
            </a:clrChange>
            <a:extLst>
              <a:ext uri="{28A0092B-C50C-407E-A947-70E740481C1C}">
                <a14:useLocalDpi xmlns:a14="http://schemas.microsoft.com/office/drawing/2010/main" val="0"/>
              </a:ext>
            </a:extLst>
          </a:blip>
          <a:srcRect l="9288" t="18263" r="4375" b="25531"/>
          <a:stretch>
            <a:fillRect/>
          </a:stretch>
        </p:blipFill>
        <p:spPr bwMode="auto">
          <a:xfrm>
            <a:off x="1850231" y="2989660"/>
            <a:ext cx="547688" cy="369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55" name="Rectangle 108"/>
          <p:cNvSpPr>
            <a:spLocks noChangeArrowheads="1"/>
          </p:cNvSpPr>
          <p:nvPr/>
        </p:nvSpPr>
        <p:spPr bwMode="auto">
          <a:xfrm>
            <a:off x="526257" y="3008710"/>
            <a:ext cx="670322" cy="403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algn="r" defTabSz="685800" fontAlgn="base">
              <a:spcBef>
                <a:spcPct val="0"/>
              </a:spcBef>
              <a:spcAft>
                <a:spcPct val="0"/>
              </a:spcAft>
              <a:buClrTx/>
              <a:buNone/>
            </a:pPr>
            <a:r>
              <a:rPr kumimoji="1" lang="en-GB" altLang="en-US" sz="675">
                <a:solidFill>
                  <a:srgbClr val="000000"/>
                </a:solidFill>
                <a:ea typeface="MS PGothic" panose="020B0600070205080204" pitchFamily="34" charset="-128"/>
                <a:cs typeface="Arial" panose="020B0604020202020204" pitchFamily="34" charset="0"/>
              </a:rPr>
              <a:t>Weather Data</a:t>
            </a:r>
          </a:p>
          <a:p>
            <a:pPr algn="r" defTabSz="685800" fontAlgn="base">
              <a:spcBef>
                <a:spcPct val="0"/>
              </a:spcBef>
              <a:spcAft>
                <a:spcPct val="0"/>
              </a:spcAft>
              <a:buClrTx/>
              <a:buNone/>
            </a:pPr>
            <a:r>
              <a:rPr kumimoji="1" lang="en-GB" altLang="en-US" sz="675">
                <a:solidFill>
                  <a:srgbClr val="000000"/>
                </a:solidFill>
                <a:ea typeface="MS PGothic" panose="020B0600070205080204" pitchFamily="34" charset="-128"/>
                <a:cs typeface="Arial" panose="020B0604020202020204" pitchFamily="34" charset="0"/>
              </a:rPr>
              <a:t>NDVI</a:t>
            </a:r>
          </a:p>
        </p:txBody>
      </p:sp>
      <p:cxnSp>
        <p:nvCxnSpPr>
          <p:cNvPr id="26656" name="Straight Arrow Connector 41"/>
          <p:cNvCxnSpPr>
            <a:cxnSpLocks noChangeShapeType="1"/>
            <a:stCxn id="26651" idx="3"/>
            <a:endCxn id="26654" idx="1"/>
          </p:cNvCxnSpPr>
          <p:nvPr/>
        </p:nvCxnSpPr>
        <p:spPr bwMode="auto">
          <a:xfrm>
            <a:off x="1493044" y="2814638"/>
            <a:ext cx="357188" cy="359569"/>
          </a:xfrm>
          <a:prstGeom prst="bentConnector3">
            <a:avLst>
              <a:gd name="adj1" fmla="val 50000"/>
            </a:avLst>
          </a:prstGeom>
          <a:noFill/>
          <a:ln w="28575" algn="ctr">
            <a:solidFill>
              <a:srgbClr val="7F7F7F"/>
            </a:solidFill>
            <a:prstDash val="sysDot"/>
            <a:round/>
            <a:headEnd/>
            <a:tailEnd type="triangle" w="med" len="med"/>
          </a:ln>
          <a:extLst>
            <a:ext uri="{909E8E84-426E-40DD-AFC4-6F175D3DCCD1}">
              <a14:hiddenFill xmlns:a14="http://schemas.microsoft.com/office/drawing/2010/main">
                <a:noFill/>
              </a14:hiddenFill>
            </a:ext>
          </a:extLst>
        </p:spPr>
      </p:cxnSp>
      <p:cxnSp>
        <p:nvCxnSpPr>
          <p:cNvPr id="26657" name="Straight Arrow Connector 41"/>
          <p:cNvCxnSpPr>
            <a:cxnSpLocks noChangeShapeType="1"/>
            <a:stCxn id="26650" idx="3"/>
            <a:endCxn id="26654" idx="1"/>
          </p:cNvCxnSpPr>
          <p:nvPr/>
        </p:nvCxnSpPr>
        <p:spPr bwMode="auto">
          <a:xfrm>
            <a:off x="1545431" y="3120629"/>
            <a:ext cx="304800" cy="53578"/>
          </a:xfrm>
          <a:prstGeom prst="bentConnector3">
            <a:avLst>
              <a:gd name="adj1" fmla="val 50000"/>
            </a:avLst>
          </a:prstGeom>
          <a:noFill/>
          <a:ln w="28575" algn="ctr">
            <a:solidFill>
              <a:srgbClr val="7F7F7F"/>
            </a:solidFill>
            <a:prstDash val="sysDot"/>
            <a:round/>
            <a:headEnd/>
            <a:tailEnd type="triangle" w="med" len="med"/>
          </a:ln>
          <a:extLst>
            <a:ext uri="{909E8E84-426E-40DD-AFC4-6F175D3DCCD1}">
              <a14:hiddenFill xmlns:a14="http://schemas.microsoft.com/office/drawing/2010/main">
                <a:noFill/>
              </a14:hiddenFill>
            </a:ext>
          </a:extLst>
        </p:spPr>
      </p:cxnSp>
      <p:sp>
        <p:nvSpPr>
          <p:cNvPr id="26658" name="Rectangle 156"/>
          <p:cNvSpPr>
            <a:spLocks noChangeArrowheads="1"/>
          </p:cNvSpPr>
          <p:nvPr/>
        </p:nvSpPr>
        <p:spPr bwMode="auto">
          <a:xfrm>
            <a:off x="313135" y="2541985"/>
            <a:ext cx="2315765"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685800" fontAlgn="base">
              <a:spcBef>
                <a:spcPct val="0"/>
              </a:spcBef>
              <a:spcAft>
                <a:spcPct val="0"/>
              </a:spcAft>
              <a:buClrTx/>
              <a:buNone/>
            </a:pPr>
            <a:r>
              <a:rPr kumimoji="1" lang="en-GB" altLang="en-US" sz="675">
                <a:solidFill>
                  <a:srgbClr val="000000"/>
                </a:solidFill>
                <a:ea typeface="MS PGothic" panose="020B0600070205080204" pitchFamily="34" charset="-128"/>
                <a:cs typeface="Arial" panose="020B0604020202020204" pitchFamily="34" charset="0"/>
              </a:rPr>
              <a:t>Ingest Weather, NVDI, Market price, YTD yields, social media</a:t>
            </a:r>
          </a:p>
        </p:txBody>
      </p:sp>
      <p:sp>
        <p:nvSpPr>
          <p:cNvPr id="26659" name="Rectangle 165"/>
          <p:cNvSpPr>
            <a:spLocks noChangeArrowheads="1"/>
          </p:cNvSpPr>
          <p:nvPr/>
        </p:nvSpPr>
        <p:spPr bwMode="auto">
          <a:xfrm>
            <a:off x="3539729" y="2636044"/>
            <a:ext cx="2125265" cy="403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marL="128588" indent="-128588" defTabSz="685800" fontAlgn="base">
              <a:spcBef>
                <a:spcPct val="0"/>
              </a:spcBef>
              <a:spcAft>
                <a:spcPct val="0"/>
              </a:spcAft>
              <a:buClrTx/>
              <a:buFont typeface="Arial" panose="020B0604020202020204" pitchFamily="34" charset="0"/>
              <a:buChar char="•"/>
            </a:pPr>
            <a:r>
              <a:rPr kumimoji="1" lang="en-US" altLang="en-US" sz="675" dirty="0">
                <a:solidFill>
                  <a:srgbClr val="000000"/>
                </a:solidFill>
                <a:ea typeface="MS PGothic" panose="020B0600070205080204" pitchFamily="34" charset="-128"/>
                <a:cs typeface="Arial" panose="020B0604020202020204" pitchFamily="34" charset="0"/>
              </a:rPr>
              <a:t>Forecast yield based on changes in input data</a:t>
            </a:r>
          </a:p>
          <a:p>
            <a:pPr marL="128588" indent="-128588" defTabSz="685800" fontAlgn="base">
              <a:spcBef>
                <a:spcPct val="0"/>
              </a:spcBef>
              <a:spcAft>
                <a:spcPct val="0"/>
              </a:spcAft>
              <a:buClrTx/>
              <a:buFont typeface="Arial" panose="020B0604020202020204" pitchFamily="34" charset="0"/>
              <a:buChar char="•"/>
            </a:pPr>
            <a:r>
              <a:rPr kumimoji="1" lang="en-US" altLang="en-US" sz="675" dirty="0">
                <a:solidFill>
                  <a:srgbClr val="000000"/>
                </a:solidFill>
                <a:ea typeface="MS PGothic" panose="020B0600070205080204" pitchFamily="34" charset="-128"/>
                <a:cs typeface="Arial" panose="020B0604020202020204" pitchFamily="34" charset="0"/>
              </a:rPr>
              <a:t>Incorporate client team adjustments</a:t>
            </a:r>
          </a:p>
          <a:p>
            <a:pPr marL="128588" indent="-128588" defTabSz="685800" fontAlgn="base">
              <a:spcBef>
                <a:spcPct val="0"/>
              </a:spcBef>
              <a:spcAft>
                <a:spcPct val="0"/>
              </a:spcAft>
              <a:buClrTx/>
              <a:buFont typeface="Arial" panose="020B0604020202020204" pitchFamily="34" charset="0"/>
              <a:buChar char="•"/>
            </a:pPr>
            <a:r>
              <a:rPr kumimoji="1" lang="en-US" altLang="en-US" sz="675" dirty="0">
                <a:solidFill>
                  <a:srgbClr val="000000"/>
                </a:solidFill>
                <a:ea typeface="MS PGothic" panose="020B0600070205080204" pitchFamily="34" charset="-128"/>
                <a:cs typeface="Arial" panose="020B0604020202020204" pitchFamily="34" charset="0"/>
              </a:rPr>
              <a:t>Store results to back test accuracy </a:t>
            </a:r>
          </a:p>
        </p:txBody>
      </p:sp>
      <p:pic>
        <p:nvPicPr>
          <p:cNvPr id="26660" name="Picture 11" descr="http://www.databaseetl.com/wp-content/uploads/2014/05/spssmod.jpg"/>
          <p:cNvPicPr>
            <a:picLocks noChangeAspect="1" noChangeArrowheads="1"/>
          </p:cNvPicPr>
          <p:nvPr/>
        </p:nvPicPr>
        <p:blipFill>
          <a:blip r:embed="rId16">
            <a:extLst>
              <a:ext uri="{28A0092B-C50C-407E-A947-70E740481C1C}">
                <a14:useLocalDpi xmlns:a14="http://schemas.microsoft.com/office/drawing/2010/main" val="0"/>
              </a:ext>
            </a:extLst>
          </a:blip>
          <a:srcRect l="3290" t="6201" r="2995" b="41228"/>
          <a:stretch>
            <a:fillRect/>
          </a:stretch>
        </p:blipFill>
        <p:spPr bwMode="auto">
          <a:xfrm>
            <a:off x="3607594" y="3005138"/>
            <a:ext cx="606029" cy="340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6661" name="Straight Arrow Connector 41"/>
          <p:cNvCxnSpPr>
            <a:cxnSpLocks noChangeShapeType="1"/>
            <a:stCxn id="26654" idx="3"/>
            <a:endCxn id="26660" idx="1"/>
          </p:cNvCxnSpPr>
          <p:nvPr/>
        </p:nvCxnSpPr>
        <p:spPr bwMode="auto">
          <a:xfrm>
            <a:off x="2397919" y="3174206"/>
            <a:ext cx="1209675" cy="1191"/>
          </a:xfrm>
          <a:prstGeom prst="bentConnector3">
            <a:avLst>
              <a:gd name="adj1" fmla="val 50000"/>
            </a:avLst>
          </a:prstGeom>
          <a:noFill/>
          <a:ln w="28575" algn="ctr">
            <a:solidFill>
              <a:srgbClr val="7F7F7F"/>
            </a:solidFill>
            <a:prstDash val="sysDot"/>
            <a:round/>
            <a:headEnd/>
            <a:tailEnd type="triangle" w="med" len="med"/>
          </a:ln>
          <a:extLst>
            <a:ext uri="{909E8E84-426E-40DD-AFC4-6F175D3DCCD1}">
              <a14:hiddenFill xmlns:a14="http://schemas.microsoft.com/office/drawing/2010/main">
                <a:noFill/>
              </a14:hiddenFill>
            </a:ext>
          </a:extLst>
        </p:spPr>
      </p:cxnSp>
      <p:sp>
        <p:nvSpPr>
          <p:cNvPr id="26662" name="Rectangle 224"/>
          <p:cNvSpPr>
            <a:spLocks noChangeArrowheads="1"/>
          </p:cNvSpPr>
          <p:nvPr/>
        </p:nvSpPr>
        <p:spPr bwMode="auto">
          <a:xfrm>
            <a:off x="4861322" y="3220641"/>
            <a:ext cx="1162050" cy="19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685800" fontAlgn="base">
              <a:spcBef>
                <a:spcPct val="0"/>
              </a:spcBef>
              <a:spcAft>
                <a:spcPct val="0"/>
              </a:spcAft>
              <a:buClrTx/>
              <a:buNone/>
            </a:pPr>
            <a:r>
              <a:rPr kumimoji="1" lang="en-GB" altLang="en-US" sz="675" i="1">
                <a:solidFill>
                  <a:srgbClr val="000000"/>
                </a:solidFill>
                <a:ea typeface="MS PGothic" panose="020B0600070205080204" pitchFamily="34" charset="-128"/>
                <a:cs typeface="Arial" panose="020B0604020202020204" pitchFamily="34" charset="0"/>
              </a:rPr>
              <a:t>Store Results </a:t>
            </a:r>
          </a:p>
        </p:txBody>
      </p:sp>
      <p:cxnSp>
        <p:nvCxnSpPr>
          <p:cNvPr id="26663" name="Straight Arrow Connector 41"/>
          <p:cNvCxnSpPr>
            <a:cxnSpLocks noChangeShapeType="1"/>
            <a:stCxn id="26660" idx="3"/>
            <a:endCxn id="26669" idx="1"/>
          </p:cNvCxnSpPr>
          <p:nvPr/>
        </p:nvCxnSpPr>
        <p:spPr bwMode="auto">
          <a:xfrm>
            <a:off x="4213622" y="3175397"/>
            <a:ext cx="436959" cy="4763"/>
          </a:xfrm>
          <a:prstGeom prst="bentConnector3">
            <a:avLst>
              <a:gd name="adj1" fmla="val 50000"/>
            </a:avLst>
          </a:prstGeom>
          <a:noFill/>
          <a:ln w="28575" algn="ctr">
            <a:solidFill>
              <a:srgbClr val="7F7F7F"/>
            </a:solidFill>
            <a:prstDash val="sysDot"/>
            <a:round/>
            <a:headEnd/>
            <a:tailEnd type="triangle" w="med" len="med"/>
          </a:ln>
          <a:extLst>
            <a:ext uri="{909E8E84-426E-40DD-AFC4-6F175D3DCCD1}">
              <a14:hiddenFill xmlns:a14="http://schemas.microsoft.com/office/drawing/2010/main">
                <a:noFill/>
              </a14:hiddenFill>
            </a:ext>
          </a:extLst>
        </p:spPr>
      </p:cxnSp>
      <p:sp>
        <p:nvSpPr>
          <p:cNvPr id="26664" name="TextBox 266"/>
          <p:cNvSpPr txBox="1">
            <a:spLocks noChangeArrowheads="1"/>
          </p:cNvSpPr>
          <p:nvPr/>
        </p:nvSpPr>
        <p:spPr bwMode="auto">
          <a:xfrm>
            <a:off x="2699147" y="3948112"/>
            <a:ext cx="79890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algn="ctr" defTabSz="685800" fontAlgn="base">
              <a:spcBef>
                <a:spcPct val="0"/>
              </a:spcBef>
              <a:spcAft>
                <a:spcPct val="0"/>
              </a:spcAft>
              <a:buClrTx/>
              <a:buNone/>
            </a:pPr>
            <a:r>
              <a:rPr kumimoji="1" lang="en-US" altLang="en-US" sz="600" b="1">
                <a:solidFill>
                  <a:srgbClr val="000000"/>
                </a:solidFill>
                <a:ea typeface="MS PGothic" panose="020B0600070205080204" pitchFamily="34" charset="-128"/>
                <a:cs typeface="Arial" panose="020B0604020202020204" pitchFamily="34" charset="0"/>
              </a:rPr>
              <a:t>Investigate drivers of yield results</a:t>
            </a:r>
          </a:p>
        </p:txBody>
      </p:sp>
      <p:sp>
        <p:nvSpPr>
          <p:cNvPr id="26665" name="TextBox 273"/>
          <p:cNvSpPr txBox="1">
            <a:spLocks noChangeArrowheads="1"/>
          </p:cNvSpPr>
          <p:nvPr/>
        </p:nvSpPr>
        <p:spPr bwMode="auto">
          <a:xfrm>
            <a:off x="6841332" y="3975497"/>
            <a:ext cx="45601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algn="ctr" defTabSz="685800" fontAlgn="base">
              <a:spcBef>
                <a:spcPct val="0"/>
              </a:spcBef>
              <a:spcAft>
                <a:spcPct val="0"/>
              </a:spcAft>
              <a:buClrTx/>
              <a:buNone/>
            </a:pPr>
            <a:r>
              <a:rPr kumimoji="1" lang="en-US" altLang="en-US" sz="600" b="1">
                <a:solidFill>
                  <a:srgbClr val="000000"/>
                </a:solidFill>
                <a:ea typeface="MS PGothic" panose="020B0600070205080204" pitchFamily="34" charset="-128"/>
                <a:cs typeface="Arial" panose="020B0604020202020204" pitchFamily="34" charset="0"/>
              </a:rPr>
              <a:t>View </a:t>
            </a:r>
          </a:p>
          <a:p>
            <a:pPr algn="ctr" defTabSz="685800" fontAlgn="base">
              <a:spcBef>
                <a:spcPct val="0"/>
              </a:spcBef>
              <a:spcAft>
                <a:spcPct val="0"/>
              </a:spcAft>
              <a:buClrTx/>
              <a:buNone/>
            </a:pPr>
            <a:r>
              <a:rPr kumimoji="1" lang="en-US" altLang="en-US" sz="600" b="1">
                <a:solidFill>
                  <a:srgbClr val="000000"/>
                </a:solidFill>
                <a:ea typeface="MS PGothic" panose="020B0600070205080204" pitchFamily="34" charset="-128"/>
                <a:cs typeface="Arial" panose="020B0604020202020204" pitchFamily="34" charset="0"/>
              </a:rPr>
              <a:t>Yields</a:t>
            </a:r>
          </a:p>
        </p:txBody>
      </p:sp>
      <p:sp>
        <p:nvSpPr>
          <p:cNvPr id="26666" name="TextBox 274"/>
          <p:cNvSpPr txBox="1">
            <a:spLocks noChangeArrowheads="1"/>
          </p:cNvSpPr>
          <p:nvPr/>
        </p:nvSpPr>
        <p:spPr bwMode="auto">
          <a:xfrm>
            <a:off x="7914085" y="3961210"/>
            <a:ext cx="45600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algn="ctr" defTabSz="685800" fontAlgn="base">
              <a:spcBef>
                <a:spcPct val="0"/>
              </a:spcBef>
              <a:spcAft>
                <a:spcPct val="0"/>
              </a:spcAft>
              <a:buClrTx/>
              <a:buNone/>
            </a:pPr>
            <a:r>
              <a:rPr kumimoji="1" lang="en-US" altLang="en-US" sz="600" b="1">
                <a:solidFill>
                  <a:srgbClr val="000000"/>
                </a:solidFill>
                <a:ea typeface="MS PGothic" panose="020B0600070205080204" pitchFamily="34" charset="-128"/>
                <a:cs typeface="Arial" panose="020B0604020202020204" pitchFamily="34" charset="0"/>
              </a:rPr>
              <a:t>View Reports</a:t>
            </a:r>
          </a:p>
        </p:txBody>
      </p:sp>
      <p:pic>
        <p:nvPicPr>
          <p:cNvPr id="26667" name="Picture 10" descr="https://cdn1.iconfinder.com/data/icons/brand-develop/56/workflow_scheme_icon_work_hierarchy_process_flow_chart_structure-512.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399735" y="3927872"/>
            <a:ext cx="2762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68" name="Rectangle 137"/>
          <p:cNvSpPr>
            <a:spLocks noChangeArrowheads="1"/>
          </p:cNvSpPr>
          <p:nvPr/>
        </p:nvSpPr>
        <p:spPr bwMode="auto">
          <a:xfrm>
            <a:off x="4656535" y="3901679"/>
            <a:ext cx="6024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algn="ctr" defTabSz="685800" fontAlgn="base">
              <a:spcBef>
                <a:spcPct val="0"/>
              </a:spcBef>
              <a:spcAft>
                <a:spcPct val="0"/>
              </a:spcAft>
              <a:buClrTx/>
              <a:buNone/>
            </a:pPr>
            <a:r>
              <a:rPr kumimoji="1" lang="en-US" altLang="en-US" sz="600" b="1">
                <a:solidFill>
                  <a:srgbClr val="000000"/>
                </a:solidFill>
                <a:ea typeface="MS PGothic" panose="020B0600070205080204" pitchFamily="34" charset="-128"/>
                <a:cs typeface="Arial" panose="020B0604020202020204" pitchFamily="34" charset="0"/>
              </a:rPr>
              <a:t>View model output</a:t>
            </a:r>
          </a:p>
        </p:txBody>
      </p:sp>
      <p:pic>
        <p:nvPicPr>
          <p:cNvPr id="26669" name="Picture 12" descr="https://upload.wikimedia.org/wikipedia/commons/8/8b/Netezza-last-logo.png"/>
          <p:cNvPicPr>
            <a:picLocks noChangeAspect="1"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50582" y="3043238"/>
            <a:ext cx="1007269" cy="275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6670" name="Straight Arrow Connector 41"/>
          <p:cNvCxnSpPr>
            <a:cxnSpLocks noChangeShapeType="1"/>
          </p:cNvCxnSpPr>
          <p:nvPr/>
        </p:nvCxnSpPr>
        <p:spPr bwMode="auto">
          <a:xfrm>
            <a:off x="5740004" y="3181350"/>
            <a:ext cx="1743075" cy="0"/>
          </a:xfrm>
          <a:prstGeom prst="straightConnector1">
            <a:avLst/>
          </a:prstGeom>
          <a:noFill/>
          <a:ln w="28575" algn="ctr">
            <a:solidFill>
              <a:srgbClr val="7F7F7F"/>
            </a:solidFill>
            <a:prstDash val="sysDot"/>
            <a:round/>
            <a:headEnd/>
            <a:tailEnd type="triangle" w="med" len="med"/>
          </a:ln>
          <a:extLst>
            <a:ext uri="{909E8E84-426E-40DD-AFC4-6F175D3DCCD1}">
              <a14:hiddenFill xmlns:a14="http://schemas.microsoft.com/office/drawing/2010/main">
                <a:noFill/>
              </a14:hiddenFill>
            </a:ext>
          </a:extLst>
        </p:spPr>
      </p:cxnSp>
      <p:sp>
        <p:nvSpPr>
          <p:cNvPr id="26671" name="Rectangle 276"/>
          <p:cNvSpPr>
            <a:spLocks noChangeArrowheads="1"/>
          </p:cNvSpPr>
          <p:nvPr/>
        </p:nvSpPr>
        <p:spPr bwMode="auto">
          <a:xfrm>
            <a:off x="6728222" y="2543175"/>
            <a:ext cx="2137172" cy="403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marL="128588" indent="-128588" defTabSz="685800" fontAlgn="base">
              <a:spcBef>
                <a:spcPct val="0"/>
              </a:spcBef>
              <a:spcAft>
                <a:spcPct val="0"/>
              </a:spcAft>
              <a:buClrTx/>
              <a:buFont typeface="Arial" panose="020B0604020202020204" pitchFamily="34" charset="0"/>
              <a:buChar char="•"/>
            </a:pPr>
            <a:r>
              <a:rPr kumimoji="1" lang="en-US" altLang="en-US" sz="675">
                <a:solidFill>
                  <a:srgbClr val="000000"/>
                </a:solidFill>
                <a:ea typeface="MS PGothic" panose="020B0600070205080204" pitchFamily="34" charset="-128"/>
                <a:cs typeface="Arial" panose="020B0604020202020204" pitchFamily="34" charset="0"/>
              </a:rPr>
              <a:t>Interactive dashboard to investigate local yields or different crops, view results of analysis and reports to evaluate positions and take action</a:t>
            </a:r>
          </a:p>
        </p:txBody>
      </p:sp>
      <p:grpSp>
        <p:nvGrpSpPr>
          <p:cNvPr id="26672" name="Group 318"/>
          <p:cNvGrpSpPr>
            <a:grpSpLocks/>
          </p:cNvGrpSpPr>
          <p:nvPr/>
        </p:nvGrpSpPr>
        <p:grpSpPr bwMode="auto">
          <a:xfrm>
            <a:off x="7567613" y="2846785"/>
            <a:ext cx="621506" cy="492919"/>
            <a:chOff x="10005473" y="3894468"/>
            <a:chExt cx="828651" cy="656700"/>
          </a:xfrm>
        </p:grpSpPr>
        <p:pic>
          <p:nvPicPr>
            <p:cNvPr id="26721" name="Picture 24" descr="https://cdn2.iconfinder.com/data/icons/color-svg-cloud-icons/512/cloud_dashboard-512.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0005473" y="3894468"/>
              <a:ext cx="656700" cy="65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722" name="Picture 16" descr="File:Diaľnica D3.sv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441365" y="4271835"/>
              <a:ext cx="392759" cy="235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6673" name="Rectangle 359"/>
          <p:cNvSpPr>
            <a:spLocks noChangeArrowheads="1"/>
          </p:cNvSpPr>
          <p:nvPr/>
        </p:nvSpPr>
        <p:spPr bwMode="auto">
          <a:xfrm>
            <a:off x="7405688" y="3334941"/>
            <a:ext cx="1221581" cy="19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685800" fontAlgn="base">
              <a:spcBef>
                <a:spcPct val="0"/>
              </a:spcBef>
              <a:spcAft>
                <a:spcPct val="0"/>
              </a:spcAft>
              <a:buClrTx/>
              <a:buNone/>
            </a:pPr>
            <a:r>
              <a:rPr kumimoji="1" lang="en-GB" altLang="en-US" sz="675" i="1">
                <a:solidFill>
                  <a:srgbClr val="000000"/>
                </a:solidFill>
                <a:ea typeface="MS PGothic" panose="020B0600070205080204" pitchFamily="34" charset="-128"/>
                <a:cs typeface="Arial" panose="020B0604020202020204" pitchFamily="34" charset="0"/>
              </a:rPr>
              <a:t>Proprietary Dashboard</a:t>
            </a:r>
          </a:p>
        </p:txBody>
      </p:sp>
      <p:sp>
        <p:nvSpPr>
          <p:cNvPr id="26674" name="Rectangle 362"/>
          <p:cNvSpPr>
            <a:spLocks noChangeArrowheads="1"/>
          </p:cNvSpPr>
          <p:nvPr/>
        </p:nvSpPr>
        <p:spPr bwMode="auto">
          <a:xfrm>
            <a:off x="3677841" y="3345656"/>
            <a:ext cx="523875" cy="19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685800" fontAlgn="base">
              <a:spcBef>
                <a:spcPct val="0"/>
              </a:spcBef>
              <a:spcAft>
                <a:spcPct val="0"/>
              </a:spcAft>
              <a:buClrTx/>
              <a:buNone/>
            </a:pPr>
            <a:r>
              <a:rPr kumimoji="1" lang="en-GB" altLang="en-US" sz="675" i="1">
                <a:solidFill>
                  <a:srgbClr val="000000"/>
                </a:solidFill>
                <a:ea typeface="MS PGothic" panose="020B0600070205080204" pitchFamily="34" charset="-128"/>
                <a:cs typeface="Arial" panose="020B0604020202020204" pitchFamily="34" charset="0"/>
              </a:rPr>
              <a:t>Models </a:t>
            </a:r>
          </a:p>
        </p:txBody>
      </p:sp>
      <p:cxnSp>
        <p:nvCxnSpPr>
          <p:cNvPr id="26675" name="Straight Arrow Connector 386"/>
          <p:cNvCxnSpPr>
            <a:cxnSpLocks noChangeShapeType="1"/>
          </p:cNvCxnSpPr>
          <p:nvPr/>
        </p:nvCxnSpPr>
        <p:spPr bwMode="auto">
          <a:xfrm>
            <a:off x="2309813" y="1557338"/>
            <a:ext cx="389335" cy="13097"/>
          </a:xfrm>
          <a:prstGeom prst="straightConnector1">
            <a:avLst/>
          </a:prstGeom>
          <a:noFill/>
          <a:ln w="28575" algn="ctr">
            <a:solidFill>
              <a:srgbClr val="7F7F7F"/>
            </a:solidFill>
            <a:prstDash val="sysDot"/>
            <a:round/>
            <a:headEnd/>
            <a:tailEnd type="triangle" w="med" len="med"/>
          </a:ln>
          <a:extLst>
            <a:ext uri="{909E8E84-426E-40DD-AFC4-6F175D3DCCD1}">
              <a14:hiddenFill xmlns:a14="http://schemas.microsoft.com/office/drawing/2010/main">
                <a:noFill/>
              </a14:hiddenFill>
            </a:ext>
          </a:extLst>
        </p:spPr>
      </p:cxnSp>
      <p:sp>
        <p:nvSpPr>
          <p:cNvPr id="390" name="Flowchart: Decision 35"/>
          <p:cNvSpPr>
            <a:spLocks noChangeArrowheads="1"/>
          </p:cNvSpPr>
          <p:nvPr/>
        </p:nvSpPr>
        <p:spPr bwMode="auto">
          <a:xfrm>
            <a:off x="2699147" y="1263254"/>
            <a:ext cx="1566863" cy="600075"/>
          </a:xfrm>
          <a:prstGeom prst="flowChartDecision">
            <a:avLst/>
          </a:prstGeom>
          <a:solidFill>
            <a:srgbClr val="FFFFFF">
              <a:alpha val="87842"/>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a:spcBef>
                <a:spcPct val="20000"/>
              </a:spcBef>
              <a:buClr>
                <a:srgbClr val="00649D"/>
              </a:buClr>
              <a:buFont typeface="Wingdings" pitchFamily="2" charset="2"/>
              <a:buChar char="§"/>
              <a:defRPr>
                <a:solidFill>
                  <a:schemeClr val="tx1"/>
                </a:solidFill>
                <a:latin typeface="Arial" pitchFamily="34" charset="0"/>
                <a:ea typeface="Calibri" pitchFamily="34" charset="0"/>
                <a:cs typeface="Calibri" pitchFamily="34" charset="0"/>
              </a:defRPr>
            </a:lvl1pPr>
            <a:lvl2pPr marL="341313" indent="-228600">
              <a:spcBef>
                <a:spcPct val="20000"/>
              </a:spcBef>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2pPr>
            <a:lvl3pPr marL="684213" indent="-228600">
              <a:spcBef>
                <a:spcPct val="20000"/>
              </a:spcBef>
              <a:buClr>
                <a:srgbClr val="00649D"/>
              </a:buClr>
              <a:buChar char="•"/>
              <a:defRPr>
                <a:solidFill>
                  <a:schemeClr val="tx1"/>
                </a:solidFill>
                <a:latin typeface="Arial" pitchFamily="34" charset="0"/>
                <a:ea typeface="Calibri" pitchFamily="34" charset="0"/>
                <a:cs typeface="Calibri" pitchFamily="34" charset="0"/>
              </a:defRPr>
            </a:lvl3pPr>
            <a:lvl4pPr marL="1027113" indent="-177800">
              <a:spcBef>
                <a:spcPct val="20000"/>
              </a:spcBef>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4pPr>
            <a:lvl5pPr marL="1370013" indent="-228600">
              <a:spcBef>
                <a:spcPct val="20000"/>
              </a:spcBef>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5pPr>
            <a:lvl6pPr marL="1827213" indent="-228600" eaLnBrk="0" fontAlgn="base" hangingPunct="0">
              <a:spcBef>
                <a:spcPct val="20000"/>
              </a:spcBef>
              <a:spcAft>
                <a:spcPct val="0"/>
              </a:spcAft>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6pPr>
            <a:lvl7pPr marL="2284413" indent="-228600" eaLnBrk="0" fontAlgn="base" hangingPunct="0">
              <a:spcBef>
                <a:spcPct val="20000"/>
              </a:spcBef>
              <a:spcAft>
                <a:spcPct val="0"/>
              </a:spcAft>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7pPr>
            <a:lvl8pPr marL="2741613" indent="-228600" eaLnBrk="0" fontAlgn="base" hangingPunct="0">
              <a:spcBef>
                <a:spcPct val="20000"/>
              </a:spcBef>
              <a:spcAft>
                <a:spcPct val="0"/>
              </a:spcAft>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8pPr>
            <a:lvl9pPr marL="3198813" indent="-228600" eaLnBrk="0" fontAlgn="base" hangingPunct="0">
              <a:spcBef>
                <a:spcPct val="20000"/>
              </a:spcBef>
              <a:spcAft>
                <a:spcPct val="0"/>
              </a:spcAft>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9pPr>
          </a:lstStyle>
          <a:p>
            <a:pPr algn="ctr" defTabSz="685800">
              <a:lnSpc>
                <a:spcPct val="90000"/>
              </a:lnSpc>
              <a:spcBef>
                <a:spcPct val="0"/>
              </a:spcBef>
              <a:buClrTx/>
              <a:buNone/>
              <a:defRPr/>
            </a:pPr>
            <a:r>
              <a:rPr lang="en-US" altLang="en-US" sz="750" kern="0" dirty="0">
                <a:solidFill>
                  <a:srgbClr val="000000"/>
                </a:solidFill>
                <a:latin typeface="HelvNeue Light for IBM" pitchFamily="34" charset="0"/>
                <a:ea typeface="MS PGothic" pitchFamily="34" charset="-128"/>
                <a:cs typeface="Arial" pitchFamily="34" charset="0"/>
              </a:rPr>
              <a:t>Forecast yield and incorporate team adjustments</a:t>
            </a:r>
          </a:p>
        </p:txBody>
      </p:sp>
      <p:sp>
        <p:nvSpPr>
          <p:cNvPr id="391" name="Flowchart: Decision 35"/>
          <p:cNvSpPr>
            <a:spLocks noChangeArrowheads="1"/>
          </p:cNvSpPr>
          <p:nvPr/>
        </p:nvSpPr>
        <p:spPr bwMode="auto">
          <a:xfrm>
            <a:off x="4327923" y="1696641"/>
            <a:ext cx="1891903" cy="513159"/>
          </a:xfrm>
          <a:prstGeom prst="flowChartDecision">
            <a:avLst/>
          </a:prstGeom>
          <a:solidFill>
            <a:srgbClr val="FFFFFF">
              <a:alpha val="87842"/>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a:spcBef>
                <a:spcPct val="20000"/>
              </a:spcBef>
              <a:buClr>
                <a:srgbClr val="00649D"/>
              </a:buClr>
              <a:buFont typeface="Wingdings" pitchFamily="2" charset="2"/>
              <a:buChar char="§"/>
              <a:defRPr>
                <a:solidFill>
                  <a:schemeClr val="tx1"/>
                </a:solidFill>
                <a:latin typeface="Arial" pitchFamily="34" charset="0"/>
                <a:ea typeface="Calibri" pitchFamily="34" charset="0"/>
                <a:cs typeface="Calibri" pitchFamily="34" charset="0"/>
              </a:defRPr>
            </a:lvl1pPr>
            <a:lvl2pPr marL="341313" indent="-228600">
              <a:spcBef>
                <a:spcPct val="20000"/>
              </a:spcBef>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2pPr>
            <a:lvl3pPr marL="684213" indent="-228600">
              <a:spcBef>
                <a:spcPct val="20000"/>
              </a:spcBef>
              <a:buClr>
                <a:srgbClr val="00649D"/>
              </a:buClr>
              <a:buChar char="•"/>
              <a:defRPr>
                <a:solidFill>
                  <a:schemeClr val="tx1"/>
                </a:solidFill>
                <a:latin typeface="Arial" pitchFamily="34" charset="0"/>
                <a:ea typeface="Calibri" pitchFamily="34" charset="0"/>
                <a:cs typeface="Calibri" pitchFamily="34" charset="0"/>
              </a:defRPr>
            </a:lvl3pPr>
            <a:lvl4pPr marL="1027113" indent="-177800">
              <a:spcBef>
                <a:spcPct val="20000"/>
              </a:spcBef>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4pPr>
            <a:lvl5pPr marL="1370013" indent="-228600">
              <a:spcBef>
                <a:spcPct val="20000"/>
              </a:spcBef>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5pPr>
            <a:lvl6pPr marL="1827213" indent="-228600" eaLnBrk="0" fontAlgn="base" hangingPunct="0">
              <a:spcBef>
                <a:spcPct val="20000"/>
              </a:spcBef>
              <a:spcAft>
                <a:spcPct val="0"/>
              </a:spcAft>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6pPr>
            <a:lvl7pPr marL="2284413" indent="-228600" eaLnBrk="0" fontAlgn="base" hangingPunct="0">
              <a:spcBef>
                <a:spcPct val="20000"/>
              </a:spcBef>
              <a:spcAft>
                <a:spcPct val="0"/>
              </a:spcAft>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7pPr>
            <a:lvl8pPr marL="2741613" indent="-228600" eaLnBrk="0" fontAlgn="base" hangingPunct="0">
              <a:spcBef>
                <a:spcPct val="20000"/>
              </a:spcBef>
              <a:spcAft>
                <a:spcPct val="0"/>
              </a:spcAft>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8pPr>
            <a:lvl9pPr marL="3198813" indent="-228600" eaLnBrk="0" fontAlgn="base" hangingPunct="0">
              <a:spcBef>
                <a:spcPct val="20000"/>
              </a:spcBef>
              <a:spcAft>
                <a:spcPct val="0"/>
              </a:spcAft>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9pPr>
          </a:lstStyle>
          <a:p>
            <a:pPr algn="ctr" defTabSz="685800">
              <a:lnSpc>
                <a:spcPct val="90000"/>
              </a:lnSpc>
              <a:spcBef>
                <a:spcPct val="0"/>
              </a:spcBef>
              <a:buClrTx/>
              <a:buNone/>
              <a:defRPr/>
            </a:pPr>
            <a:r>
              <a:rPr lang="en-US" altLang="en-US" sz="750" kern="0" dirty="0">
                <a:solidFill>
                  <a:srgbClr val="000000"/>
                </a:solidFill>
                <a:latin typeface="HelvNeue Light for IBM" pitchFamily="34" charset="0"/>
                <a:ea typeface="MS PGothic" pitchFamily="34" charset="-128"/>
                <a:cs typeface="Arial" pitchFamily="34" charset="0"/>
              </a:rPr>
              <a:t>Are changes in yield impacted by controllable levers?</a:t>
            </a:r>
          </a:p>
        </p:txBody>
      </p:sp>
      <p:cxnSp>
        <p:nvCxnSpPr>
          <p:cNvPr id="26678" name="Straight Arrow Connector 391"/>
          <p:cNvCxnSpPr>
            <a:cxnSpLocks noChangeShapeType="1"/>
          </p:cNvCxnSpPr>
          <p:nvPr/>
        </p:nvCxnSpPr>
        <p:spPr bwMode="auto">
          <a:xfrm>
            <a:off x="4252913" y="1572816"/>
            <a:ext cx="289322" cy="0"/>
          </a:xfrm>
          <a:prstGeom prst="straightConnector1">
            <a:avLst/>
          </a:prstGeom>
          <a:noFill/>
          <a:ln w="28575" algn="ctr">
            <a:solidFill>
              <a:srgbClr val="7F7F7F"/>
            </a:solidFill>
            <a:prstDash val="sysDot"/>
            <a:round/>
            <a:headEnd/>
            <a:tailEnd type="triangle" w="med" len="med"/>
          </a:ln>
          <a:extLst>
            <a:ext uri="{909E8E84-426E-40DD-AFC4-6F175D3DCCD1}">
              <a14:hiddenFill xmlns:a14="http://schemas.microsoft.com/office/drawing/2010/main">
                <a:noFill/>
              </a14:hiddenFill>
            </a:ext>
          </a:extLst>
        </p:spPr>
      </p:cxnSp>
      <p:sp>
        <p:nvSpPr>
          <p:cNvPr id="26679" name="TextBox 85"/>
          <p:cNvSpPr txBox="1">
            <a:spLocks noChangeArrowheads="1"/>
          </p:cNvSpPr>
          <p:nvPr/>
        </p:nvSpPr>
        <p:spPr bwMode="auto">
          <a:xfrm>
            <a:off x="5787629" y="1584723"/>
            <a:ext cx="522684" cy="10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685800" fontAlgn="base">
              <a:spcBef>
                <a:spcPct val="0"/>
              </a:spcBef>
              <a:spcAft>
                <a:spcPct val="0"/>
              </a:spcAft>
              <a:buClrTx/>
              <a:buNone/>
            </a:pPr>
            <a:r>
              <a:rPr kumimoji="1" lang="en-US" altLang="en-US" sz="675" b="1">
                <a:solidFill>
                  <a:srgbClr val="7F7F7F"/>
                </a:solidFill>
                <a:ea typeface="MS PGothic" panose="020B0600070205080204" pitchFamily="34" charset="-128"/>
                <a:cs typeface="Arial" panose="020B0604020202020204" pitchFamily="34" charset="0"/>
              </a:rPr>
              <a:t>YES or No</a:t>
            </a:r>
          </a:p>
        </p:txBody>
      </p:sp>
      <p:cxnSp>
        <p:nvCxnSpPr>
          <p:cNvPr id="26680" name="Straight Arrow Connector 398"/>
          <p:cNvCxnSpPr>
            <a:cxnSpLocks noChangeShapeType="1"/>
          </p:cNvCxnSpPr>
          <p:nvPr/>
        </p:nvCxnSpPr>
        <p:spPr bwMode="auto">
          <a:xfrm flipV="1">
            <a:off x="6323410" y="1618060"/>
            <a:ext cx="564356" cy="13097"/>
          </a:xfrm>
          <a:prstGeom prst="straightConnector1">
            <a:avLst/>
          </a:prstGeom>
          <a:noFill/>
          <a:ln w="28575" algn="ctr">
            <a:solidFill>
              <a:srgbClr val="7F7F7F"/>
            </a:solidFill>
            <a:prstDash val="sysDot"/>
            <a:round/>
            <a:headEnd/>
            <a:tailEnd type="triangle" w="med" len="med"/>
          </a:ln>
          <a:extLst>
            <a:ext uri="{909E8E84-426E-40DD-AFC4-6F175D3DCCD1}">
              <a14:hiddenFill xmlns:a14="http://schemas.microsoft.com/office/drawing/2010/main">
                <a:noFill/>
              </a14:hiddenFill>
            </a:ext>
          </a:extLst>
        </p:spPr>
      </p:cxnSp>
      <p:cxnSp>
        <p:nvCxnSpPr>
          <p:cNvPr id="26681" name="Straight Arrow Connector 32"/>
          <p:cNvCxnSpPr>
            <a:cxnSpLocks noChangeShapeType="1"/>
          </p:cNvCxnSpPr>
          <p:nvPr/>
        </p:nvCxnSpPr>
        <p:spPr bwMode="auto">
          <a:xfrm rot="10800000">
            <a:off x="971551" y="1297781"/>
            <a:ext cx="7775972" cy="600075"/>
          </a:xfrm>
          <a:prstGeom prst="bentConnector4">
            <a:avLst>
              <a:gd name="adj1" fmla="val -1380"/>
              <a:gd name="adj2" fmla="val 115120"/>
            </a:avLst>
          </a:prstGeom>
          <a:noFill/>
          <a:ln w="28575" algn="ctr">
            <a:solidFill>
              <a:srgbClr val="7F7F7F"/>
            </a:solidFill>
            <a:prstDash val="sysDot"/>
            <a:round/>
            <a:headEnd/>
            <a:tailEnd type="triangle" w="med" len="med"/>
          </a:ln>
          <a:extLst>
            <a:ext uri="{909E8E84-426E-40DD-AFC4-6F175D3DCCD1}">
              <a14:hiddenFill xmlns:a14="http://schemas.microsoft.com/office/drawing/2010/main">
                <a:noFill/>
              </a14:hiddenFill>
            </a:ext>
          </a:extLst>
        </p:spPr>
      </p:cxnSp>
      <p:sp>
        <p:nvSpPr>
          <p:cNvPr id="26682" name="TextBox 145"/>
          <p:cNvSpPr txBox="1">
            <a:spLocks noChangeArrowheads="1"/>
          </p:cNvSpPr>
          <p:nvPr/>
        </p:nvSpPr>
        <p:spPr bwMode="auto">
          <a:xfrm>
            <a:off x="7483078" y="1063229"/>
            <a:ext cx="736997" cy="10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685800" fontAlgn="base">
              <a:spcBef>
                <a:spcPct val="0"/>
              </a:spcBef>
              <a:spcAft>
                <a:spcPct val="0"/>
              </a:spcAft>
              <a:buClrTx/>
              <a:buNone/>
            </a:pPr>
            <a:r>
              <a:rPr kumimoji="1" lang="en-US" altLang="en-US" sz="675" b="1">
                <a:solidFill>
                  <a:srgbClr val="7F7F7F"/>
                </a:solidFill>
                <a:ea typeface="MS PGothic" panose="020B0600070205080204" pitchFamily="34" charset="-128"/>
                <a:cs typeface="Arial" panose="020B0604020202020204" pitchFamily="34" charset="0"/>
              </a:rPr>
              <a:t>Feedback Loop</a:t>
            </a:r>
          </a:p>
        </p:txBody>
      </p:sp>
      <p:sp>
        <p:nvSpPr>
          <p:cNvPr id="393" name="Rounded Rectangle 54"/>
          <p:cNvSpPr>
            <a:spLocks noChangeArrowheads="1"/>
          </p:cNvSpPr>
          <p:nvPr/>
        </p:nvSpPr>
        <p:spPr bwMode="auto">
          <a:xfrm>
            <a:off x="6880622" y="1263253"/>
            <a:ext cx="1851422" cy="803672"/>
          </a:xfrm>
          <a:prstGeom prst="roundRect">
            <a:avLst>
              <a:gd name="adj" fmla="val 12514"/>
            </a:avLst>
          </a:prstGeom>
          <a:solidFill>
            <a:srgbClr val="FFFFFF">
              <a:alpha val="87842"/>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a:spcBef>
                <a:spcPct val="20000"/>
              </a:spcBef>
              <a:buClr>
                <a:srgbClr val="00649D"/>
              </a:buClr>
              <a:buFont typeface="Wingdings" pitchFamily="2" charset="2"/>
              <a:buChar char="§"/>
              <a:defRPr>
                <a:solidFill>
                  <a:schemeClr val="tx1"/>
                </a:solidFill>
                <a:latin typeface="Arial" pitchFamily="34" charset="0"/>
                <a:ea typeface="Calibri" pitchFamily="34" charset="0"/>
                <a:cs typeface="Calibri" pitchFamily="34" charset="0"/>
              </a:defRPr>
            </a:lvl1pPr>
            <a:lvl2pPr marL="341313" indent="-228600">
              <a:spcBef>
                <a:spcPct val="20000"/>
              </a:spcBef>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2pPr>
            <a:lvl3pPr marL="684213" indent="-228600">
              <a:spcBef>
                <a:spcPct val="20000"/>
              </a:spcBef>
              <a:buClr>
                <a:srgbClr val="00649D"/>
              </a:buClr>
              <a:buChar char="•"/>
              <a:defRPr>
                <a:solidFill>
                  <a:schemeClr val="tx1"/>
                </a:solidFill>
                <a:latin typeface="Arial" pitchFamily="34" charset="0"/>
                <a:ea typeface="Calibri" pitchFamily="34" charset="0"/>
                <a:cs typeface="Calibri" pitchFamily="34" charset="0"/>
              </a:defRPr>
            </a:lvl3pPr>
            <a:lvl4pPr marL="1027113" indent="-177800">
              <a:spcBef>
                <a:spcPct val="20000"/>
              </a:spcBef>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4pPr>
            <a:lvl5pPr marL="1370013" indent="-228600">
              <a:spcBef>
                <a:spcPct val="20000"/>
              </a:spcBef>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5pPr>
            <a:lvl6pPr marL="1827213" indent="-228600" eaLnBrk="0" fontAlgn="base" hangingPunct="0">
              <a:spcBef>
                <a:spcPct val="20000"/>
              </a:spcBef>
              <a:spcAft>
                <a:spcPct val="0"/>
              </a:spcAft>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6pPr>
            <a:lvl7pPr marL="2284413" indent="-228600" eaLnBrk="0" fontAlgn="base" hangingPunct="0">
              <a:spcBef>
                <a:spcPct val="20000"/>
              </a:spcBef>
              <a:spcAft>
                <a:spcPct val="0"/>
              </a:spcAft>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7pPr>
            <a:lvl8pPr marL="2741613" indent="-228600" eaLnBrk="0" fontAlgn="base" hangingPunct="0">
              <a:spcBef>
                <a:spcPct val="20000"/>
              </a:spcBef>
              <a:spcAft>
                <a:spcPct val="0"/>
              </a:spcAft>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8pPr>
            <a:lvl9pPr marL="3198813" indent="-228600" eaLnBrk="0" fontAlgn="base" hangingPunct="0">
              <a:spcBef>
                <a:spcPct val="20000"/>
              </a:spcBef>
              <a:spcAft>
                <a:spcPct val="0"/>
              </a:spcAft>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9pPr>
          </a:lstStyle>
          <a:p>
            <a:pPr defTabSz="685800">
              <a:lnSpc>
                <a:spcPct val="90000"/>
              </a:lnSpc>
              <a:spcBef>
                <a:spcPct val="0"/>
              </a:spcBef>
              <a:buClrTx/>
              <a:buNone/>
              <a:defRPr/>
            </a:pPr>
            <a:r>
              <a:rPr lang="en-US" altLang="en-US" sz="788" kern="0" dirty="0">
                <a:solidFill>
                  <a:srgbClr val="000000"/>
                </a:solidFill>
                <a:latin typeface="HelvNeue Light for IBM" pitchFamily="34" charset="0"/>
                <a:ea typeface="MS PGothic" pitchFamily="34" charset="-128"/>
                <a:cs typeface="Arial" pitchFamily="34" charset="0"/>
              </a:rPr>
              <a:t>Evaluate:</a:t>
            </a:r>
          </a:p>
          <a:p>
            <a:pPr marL="128588" indent="-128588" defTabSz="685800">
              <a:lnSpc>
                <a:spcPct val="90000"/>
              </a:lnSpc>
              <a:spcBef>
                <a:spcPct val="0"/>
              </a:spcBef>
              <a:buClrTx/>
              <a:defRPr/>
            </a:pPr>
            <a:r>
              <a:rPr lang="en-US" altLang="en-US" sz="788" kern="0" dirty="0">
                <a:solidFill>
                  <a:srgbClr val="000000"/>
                </a:solidFill>
                <a:latin typeface="HelvNeue Light for IBM" pitchFamily="34" charset="0"/>
                <a:ea typeface="MS PGothic" pitchFamily="34" charset="-128"/>
                <a:cs typeface="Arial" pitchFamily="34" charset="0"/>
              </a:rPr>
              <a:t>Irrigation Management</a:t>
            </a:r>
          </a:p>
          <a:p>
            <a:pPr marL="128588" indent="-128588" defTabSz="685800">
              <a:lnSpc>
                <a:spcPct val="90000"/>
              </a:lnSpc>
              <a:spcBef>
                <a:spcPct val="0"/>
              </a:spcBef>
              <a:buClrTx/>
              <a:defRPr/>
            </a:pPr>
            <a:r>
              <a:rPr lang="en-US" altLang="en-US" sz="788" kern="0" dirty="0" err="1">
                <a:solidFill>
                  <a:srgbClr val="000000"/>
                </a:solidFill>
                <a:latin typeface="HelvNeue Light for IBM" pitchFamily="34" charset="0"/>
                <a:ea typeface="MS PGothic" pitchFamily="34" charset="-128"/>
                <a:cs typeface="Arial" pitchFamily="34" charset="0"/>
              </a:rPr>
              <a:t>Fertigation</a:t>
            </a:r>
            <a:r>
              <a:rPr lang="en-US" altLang="en-US" sz="788" kern="0" dirty="0">
                <a:solidFill>
                  <a:srgbClr val="000000"/>
                </a:solidFill>
                <a:latin typeface="HelvNeue Light for IBM" pitchFamily="34" charset="0"/>
                <a:ea typeface="MS PGothic" pitchFamily="34" charset="-128"/>
                <a:cs typeface="Arial" pitchFamily="34" charset="0"/>
              </a:rPr>
              <a:t> Management</a:t>
            </a:r>
          </a:p>
          <a:p>
            <a:pPr marL="128588" indent="-128588" defTabSz="685800">
              <a:lnSpc>
                <a:spcPct val="90000"/>
              </a:lnSpc>
              <a:spcBef>
                <a:spcPct val="0"/>
              </a:spcBef>
              <a:buClrTx/>
              <a:defRPr/>
            </a:pPr>
            <a:r>
              <a:rPr lang="en-US" altLang="en-US" sz="788" kern="0" dirty="0">
                <a:solidFill>
                  <a:srgbClr val="000000"/>
                </a:solidFill>
                <a:latin typeface="HelvNeue Light for IBM" pitchFamily="34" charset="0"/>
                <a:ea typeface="MS PGothic" pitchFamily="34" charset="-128"/>
                <a:cs typeface="Arial" pitchFamily="34" charset="0"/>
              </a:rPr>
              <a:t>Optimal Harvest Time</a:t>
            </a:r>
          </a:p>
          <a:p>
            <a:pPr marL="128588" indent="-128588" defTabSz="685800">
              <a:lnSpc>
                <a:spcPct val="90000"/>
              </a:lnSpc>
              <a:spcBef>
                <a:spcPct val="0"/>
              </a:spcBef>
              <a:buClrTx/>
              <a:defRPr/>
            </a:pPr>
            <a:r>
              <a:rPr lang="en-US" altLang="en-US" sz="788" kern="0" dirty="0">
                <a:solidFill>
                  <a:srgbClr val="000000"/>
                </a:solidFill>
                <a:latin typeface="HelvNeue Light for IBM" pitchFamily="34" charset="0"/>
                <a:ea typeface="MS PGothic" pitchFamily="34" charset="-128"/>
                <a:cs typeface="Arial" pitchFamily="34" charset="0"/>
              </a:rPr>
              <a:t>Commodities price for Crop </a:t>
            </a:r>
          </a:p>
        </p:txBody>
      </p:sp>
      <p:cxnSp>
        <p:nvCxnSpPr>
          <p:cNvPr id="26684" name="Straight Arrow Connector 41"/>
          <p:cNvCxnSpPr>
            <a:cxnSpLocks noChangeShapeType="1"/>
          </p:cNvCxnSpPr>
          <p:nvPr/>
        </p:nvCxnSpPr>
        <p:spPr bwMode="auto">
          <a:xfrm flipV="1">
            <a:off x="1439466" y="3169444"/>
            <a:ext cx="400050" cy="217885"/>
          </a:xfrm>
          <a:prstGeom prst="bentConnector3">
            <a:avLst>
              <a:gd name="adj1" fmla="val 50000"/>
            </a:avLst>
          </a:prstGeom>
          <a:noFill/>
          <a:ln w="28575" algn="ctr">
            <a:solidFill>
              <a:srgbClr val="7F7F7F"/>
            </a:solidFill>
            <a:prstDash val="sysDot"/>
            <a:round/>
            <a:headEnd/>
            <a:tailEnd type="triangle" w="med" len="med"/>
          </a:ln>
          <a:extLst>
            <a:ext uri="{909E8E84-426E-40DD-AFC4-6F175D3DCCD1}">
              <a14:hiddenFill xmlns:a14="http://schemas.microsoft.com/office/drawing/2010/main">
                <a:noFill/>
              </a14:hiddenFill>
            </a:ext>
          </a:extLst>
        </p:spPr>
      </p:cxnSp>
      <p:pic>
        <p:nvPicPr>
          <p:cNvPr id="26685" name="Picture 7"/>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262062" y="3314701"/>
            <a:ext cx="205979" cy="145256"/>
          </a:xfrm>
          <a:prstGeom prst="rect">
            <a:avLst/>
          </a:prstGeom>
          <a:noFill/>
          <a:ln>
            <a:noFill/>
          </a:ln>
          <a:effectLst/>
          <a:extLst>
            <a:ext uri="{909E8E84-426E-40DD-AFC4-6F175D3DCCD1}">
              <a14:hiddenFill xmlns:a14="http://schemas.microsoft.com/office/drawing/2010/main">
                <a:solidFill>
                  <a:srgbClr val="EAEAEA"/>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686" name="Rectangle 108"/>
          <p:cNvSpPr>
            <a:spLocks noChangeArrowheads="1"/>
          </p:cNvSpPr>
          <p:nvPr/>
        </p:nvSpPr>
        <p:spPr bwMode="auto">
          <a:xfrm>
            <a:off x="621507" y="3313510"/>
            <a:ext cx="670322"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algn="r" defTabSz="685800" fontAlgn="base">
              <a:spcBef>
                <a:spcPct val="0"/>
              </a:spcBef>
              <a:spcAft>
                <a:spcPct val="0"/>
              </a:spcAft>
              <a:buClrTx/>
              <a:buNone/>
            </a:pPr>
            <a:r>
              <a:rPr kumimoji="1" lang="en-GB" altLang="en-US" sz="675">
                <a:solidFill>
                  <a:srgbClr val="000000"/>
                </a:solidFill>
                <a:ea typeface="MS PGothic" panose="020B0600070205080204" pitchFamily="34" charset="-128"/>
                <a:cs typeface="Arial" panose="020B0604020202020204" pitchFamily="34" charset="0"/>
              </a:rPr>
              <a:t>Social Media</a:t>
            </a:r>
          </a:p>
        </p:txBody>
      </p:sp>
      <p:pic>
        <p:nvPicPr>
          <p:cNvPr id="26687" name="Picture 6"/>
          <p:cNvPicPr>
            <a:picLocks noChangeAspect="1" noChangeArrowheads="1"/>
          </p:cNvPicPr>
          <p:nvPr/>
        </p:nvPicPr>
        <p:blipFill>
          <a:blip r:embed="rId22" cstate="print">
            <a:extLst>
              <a:ext uri="{28A0092B-C50C-407E-A947-70E740481C1C}">
                <a14:useLocalDpi xmlns:a14="http://schemas.microsoft.com/office/drawing/2010/main" val="0"/>
              </a:ext>
            </a:extLst>
          </a:blip>
          <a:srcRect l="3340" t="10744" r="1936" b="2051"/>
          <a:stretch>
            <a:fillRect/>
          </a:stretch>
        </p:blipFill>
        <p:spPr bwMode="auto">
          <a:xfrm>
            <a:off x="1210866" y="3942160"/>
            <a:ext cx="604838"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88" name="Picture 10"/>
          <p:cNvPicPr>
            <a:picLocks noChangeAspect="1" noChangeArrowheads="1"/>
          </p:cNvPicPr>
          <p:nvPr/>
        </p:nvPicPr>
        <p:blipFill>
          <a:blip r:embed="rId23" cstate="print">
            <a:extLst>
              <a:ext uri="{28A0092B-C50C-407E-A947-70E740481C1C}">
                <a14:useLocalDpi xmlns:a14="http://schemas.microsoft.com/office/drawing/2010/main" val="0"/>
              </a:ext>
            </a:extLst>
          </a:blip>
          <a:srcRect b="31409"/>
          <a:stretch>
            <a:fillRect/>
          </a:stretch>
        </p:blipFill>
        <p:spPr bwMode="auto">
          <a:xfrm>
            <a:off x="1690688" y="3852863"/>
            <a:ext cx="607219" cy="330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7" name="Flowchart: Decision 35"/>
          <p:cNvSpPr>
            <a:spLocks noChangeArrowheads="1"/>
          </p:cNvSpPr>
          <p:nvPr/>
        </p:nvSpPr>
        <p:spPr bwMode="auto">
          <a:xfrm>
            <a:off x="4327923" y="1219201"/>
            <a:ext cx="1891903" cy="431006"/>
          </a:xfrm>
          <a:prstGeom prst="flowChartDecision">
            <a:avLst/>
          </a:prstGeom>
          <a:solidFill>
            <a:srgbClr val="FFFFFF">
              <a:alpha val="87842"/>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a:spcBef>
                <a:spcPct val="20000"/>
              </a:spcBef>
              <a:buClr>
                <a:srgbClr val="00649D"/>
              </a:buClr>
              <a:buFont typeface="Wingdings" pitchFamily="2" charset="2"/>
              <a:buChar char="§"/>
              <a:defRPr>
                <a:solidFill>
                  <a:schemeClr val="tx1"/>
                </a:solidFill>
                <a:latin typeface="Arial" pitchFamily="34" charset="0"/>
                <a:ea typeface="Calibri" pitchFamily="34" charset="0"/>
                <a:cs typeface="Calibri" pitchFamily="34" charset="0"/>
              </a:defRPr>
            </a:lvl1pPr>
            <a:lvl2pPr marL="341313" indent="-228600">
              <a:spcBef>
                <a:spcPct val="20000"/>
              </a:spcBef>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2pPr>
            <a:lvl3pPr marL="684213" indent="-228600">
              <a:spcBef>
                <a:spcPct val="20000"/>
              </a:spcBef>
              <a:buClr>
                <a:srgbClr val="00649D"/>
              </a:buClr>
              <a:buChar char="•"/>
              <a:defRPr>
                <a:solidFill>
                  <a:schemeClr val="tx1"/>
                </a:solidFill>
                <a:latin typeface="Arial" pitchFamily="34" charset="0"/>
                <a:ea typeface="Calibri" pitchFamily="34" charset="0"/>
                <a:cs typeface="Calibri" pitchFamily="34" charset="0"/>
              </a:defRPr>
            </a:lvl3pPr>
            <a:lvl4pPr marL="1027113" indent="-177800">
              <a:spcBef>
                <a:spcPct val="20000"/>
              </a:spcBef>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4pPr>
            <a:lvl5pPr marL="1370013" indent="-228600">
              <a:spcBef>
                <a:spcPct val="20000"/>
              </a:spcBef>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5pPr>
            <a:lvl6pPr marL="1827213" indent="-228600" eaLnBrk="0" fontAlgn="base" hangingPunct="0">
              <a:spcBef>
                <a:spcPct val="20000"/>
              </a:spcBef>
              <a:spcAft>
                <a:spcPct val="0"/>
              </a:spcAft>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6pPr>
            <a:lvl7pPr marL="2284413" indent="-228600" eaLnBrk="0" fontAlgn="base" hangingPunct="0">
              <a:spcBef>
                <a:spcPct val="20000"/>
              </a:spcBef>
              <a:spcAft>
                <a:spcPct val="0"/>
              </a:spcAft>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7pPr>
            <a:lvl8pPr marL="2741613" indent="-228600" eaLnBrk="0" fontAlgn="base" hangingPunct="0">
              <a:spcBef>
                <a:spcPct val="20000"/>
              </a:spcBef>
              <a:spcAft>
                <a:spcPct val="0"/>
              </a:spcAft>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8pPr>
            <a:lvl9pPr marL="3198813" indent="-228600" eaLnBrk="0" fontAlgn="base" hangingPunct="0">
              <a:spcBef>
                <a:spcPct val="20000"/>
              </a:spcBef>
              <a:spcAft>
                <a:spcPct val="0"/>
              </a:spcAft>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9pPr>
          </a:lstStyle>
          <a:p>
            <a:pPr algn="ctr" defTabSz="685800">
              <a:lnSpc>
                <a:spcPct val="90000"/>
              </a:lnSpc>
              <a:spcBef>
                <a:spcPct val="0"/>
              </a:spcBef>
              <a:buClrTx/>
              <a:buNone/>
              <a:defRPr/>
            </a:pPr>
            <a:r>
              <a:rPr lang="en-US" altLang="en-US" sz="750" kern="0" dirty="0">
                <a:solidFill>
                  <a:srgbClr val="000000"/>
                </a:solidFill>
                <a:latin typeface="HelvNeue Light for IBM" pitchFamily="34" charset="0"/>
                <a:ea typeface="MS PGothic" pitchFamily="34" charset="-128"/>
                <a:cs typeface="Arial" pitchFamily="34" charset="0"/>
              </a:rPr>
              <a:t>Why is there a yield gap or surplus?</a:t>
            </a:r>
          </a:p>
        </p:txBody>
      </p:sp>
      <p:grpSp>
        <p:nvGrpSpPr>
          <p:cNvPr id="26690" name="Group 1"/>
          <p:cNvGrpSpPr>
            <a:grpSpLocks/>
          </p:cNvGrpSpPr>
          <p:nvPr/>
        </p:nvGrpSpPr>
        <p:grpSpPr bwMode="auto">
          <a:xfrm>
            <a:off x="3571876" y="3852863"/>
            <a:ext cx="859631" cy="431006"/>
            <a:chOff x="432157" y="604909"/>
            <a:chExt cx="11703573" cy="6254664"/>
          </a:xfrm>
        </p:grpSpPr>
        <p:pic>
          <p:nvPicPr>
            <p:cNvPr id="26693" name="Picture 2"/>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32157" y="604934"/>
              <a:ext cx="2907758" cy="374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94" name="Picture 3"/>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469295" y="4346927"/>
              <a:ext cx="2766276" cy="2421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95" name="Picture 4"/>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3493422" y="604935"/>
              <a:ext cx="2872015" cy="3286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96" name="Picture 5"/>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460966" y="3882690"/>
              <a:ext cx="2984727" cy="297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97" name="Picture 6"/>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6792242" y="604909"/>
              <a:ext cx="2797282" cy="2797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98" name="Picture 7"/>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6785208" y="3305918"/>
              <a:ext cx="2774928" cy="3128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5" name="Oval 424"/>
            <p:cNvSpPr/>
            <p:nvPr/>
          </p:nvSpPr>
          <p:spPr bwMode="auto">
            <a:xfrm>
              <a:off x="7159285" y="3853188"/>
              <a:ext cx="1199535" cy="431957"/>
            </a:xfrm>
            <a:prstGeom prst="ellipse">
              <a:avLst/>
            </a:prstGeom>
            <a:noFill/>
            <a:ln w="25400" cap="flat" cmpd="sng" algn="ctr">
              <a:solidFill>
                <a:schemeClr val="tx1"/>
              </a:solidFill>
              <a:prstDash val="solid"/>
              <a:round/>
              <a:headEnd type="none" w="med" len="med"/>
              <a:tailEnd type="none" w="med" len="med"/>
            </a:ln>
            <a:effectLst/>
            <a:extLst/>
          </p:spPr>
          <p:txBody>
            <a:bodyPr lIns="68510" tIns="34259" rIns="68510" bIns="34259"/>
            <a:lstStyle/>
            <a:p>
              <a:pPr algn="ctr" defTabSz="685099" eaLnBrk="0" fontAlgn="base" hangingPunct="0">
                <a:lnSpc>
                  <a:spcPct val="90000"/>
                </a:lnSpc>
                <a:spcBef>
                  <a:spcPct val="0"/>
                </a:spcBef>
                <a:spcAft>
                  <a:spcPct val="0"/>
                </a:spcAft>
                <a:defRPr/>
              </a:pPr>
              <a:endParaRPr kumimoji="1" lang="en-US" sz="1625" dirty="0">
                <a:solidFill>
                  <a:srgbClr val="007670"/>
                </a:solidFill>
                <a:latin typeface="Arial" panose="020B0604020202020204" pitchFamily="34" charset="0"/>
                <a:ea typeface="ＭＳ Ｐゴシック" charset="-128"/>
                <a:cs typeface="Arial"/>
              </a:endParaRPr>
            </a:p>
          </p:txBody>
        </p:sp>
        <p:sp>
          <p:nvSpPr>
            <p:cNvPr id="426" name="Oval 425"/>
            <p:cNvSpPr/>
            <p:nvPr/>
          </p:nvSpPr>
          <p:spPr bwMode="auto">
            <a:xfrm>
              <a:off x="7305169" y="2540054"/>
              <a:ext cx="1199535" cy="449230"/>
            </a:xfrm>
            <a:prstGeom prst="ellipse">
              <a:avLst/>
            </a:prstGeom>
            <a:noFill/>
            <a:ln w="25400" cap="flat" cmpd="sng" algn="ctr">
              <a:solidFill>
                <a:schemeClr val="tx1"/>
              </a:solidFill>
              <a:prstDash val="solid"/>
              <a:round/>
              <a:headEnd type="none" w="med" len="med"/>
              <a:tailEnd type="none" w="med" len="med"/>
            </a:ln>
            <a:effectLst/>
            <a:extLst/>
          </p:spPr>
          <p:txBody>
            <a:bodyPr lIns="68510" tIns="34259" rIns="68510" bIns="34259"/>
            <a:lstStyle/>
            <a:p>
              <a:pPr algn="ctr" defTabSz="685099" eaLnBrk="0" fontAlgn="base" hangingPunct="0">
                <a:lnSpc>
                  <a:spcPct val="90000"/>
                </a:lnSpc>
                <a:spcBef>
                  <a:spcPct val="0"/>
                </a:spcBef>
                <a:spcAft>
                  <a:spcPct val="0"/>
                </a:spcAft>
                <a:defRPr/>
              </a:pPr>
              <a:endParaRPr kumimoji="1" lang="en-US" sz="1625" dirty="0">
                <a:solidFill>
                  <a:srgbClr val="007670"/>
                </a:solidFill>
                <a:latin typeface="Arial" panose="020B0604020202020204" pitchFamily="34" charset="0"/>
                <a:ea typeface="ＭＳ Ｐゴシック" charset="-128"/>
                <a:cs typeface="Arial"/>
              </a:endParaRPr>
            </a:p>
          </p:txBody>
        </p:sp>
        <p:sp>
          <p:nvSpPr>
            <p:cNvPr id="427" name="Oval 426"/>
            <p:cNvSpPr/>
            <p:nvPr/>
          </p:nvSpPr>
          <p:spPr bwMode="auto">
            <a:xfrm>
              <a:off x="3933503" y="1555209"/>
              <a:ext cx="1183330" cy="449230"/>
            </a:xfrm>
            <a:prstGeom prst="ellipse">
              <a:avLst/>
            </a:prstGeom>
            <a:noFill/>
            <a:ln w="25400" cap="flat" cmpd="sng" algn="ctr">
              <a:solidFill>
                <a:schemeClr val="tx1"/>
              </a:solidFill>
              <a:prstDash val="solid"/>
              <a:round/>
              <a:headEnd type="none" w="med" len="med"/>
              <a:tailEnd type="none" w="med" len="med"/>
            </a:ln>
            <a:effectLst/>
            <a:extLst/>
          </p:spPr>
          <p:txBody>
            <a:bodyPr lIns="68510" tIns="34259" rIns="68510" bIns="34259"/>
            <a:lstStyle/>
            <a:p>
              <a:pPr algn="ctr" defTabSz="685099" eaLnBrk="0" fontAlgn="base" hangingPunct="0">
                <a:lnSpc>
                  <a:spcPct val="90000"/>
                </a:lnSpc>
                <a:spcBef>
                  <a:spcPct val="0"/>
                </a:spcBef>
                <a:spcAft>
                  <a:spcPct val="0"/>
                </a:spcAft>
                <a:defRPr/>
              </a:pPr>
              <a:endParaRPr kumimoji="1" lang="en-US" sz="1625" dirty="0">
                <a:solidFill>
                  <a:srgbClr val="007670"/>
                </a:solidFill>
                <a:latin typeface="Arial" panose="020B0604020202020204" pitchFamily="34" charset="0"/>
                <a:ea typeface="ＭＳ Ｐゴシック" charset="-128"/>
                <a:cs typeface="Arial"/>
              </a:endParaRPr>
            </a:p>
          </p:txBody>
        </p:sp>
        <p:sp>
          <p:nvSpPr>
            <p:cNvPr id="428" name="Oval 427"/>
            <p:cNvSpPr/>
            <p:nvPr/>
          </p:nvSpPr>
          <p:spPr bwMode="auto">
            <a:xfrm>
              <a:off x="691516" y="2989284"/>
              <a:ext cx="1183330" cy="431957"/>
            </a:xfrm>
            <a:prstGeom prst="ellipse">
              <a:avLst/>
            </a:prstGeom>
            <a:noFill/>
            <a:ln w="50800" cap="flat" cmpd="sng" algn="ctr">
              <a:solidFill>
                <a:srgbClr val="FF0000"/>
              </a:solidFill>
              <a:prstDash val="solid"/>
              <a:round/>
              <a:headEnd type="none" w="med" len="med"/>
              <a:tailEnd type="none" w="med" len="med"/>
            </a:ln>
            <a:effectLst/>
            <a:extLst/>
          </p:spPr>
          <p:txBody>
            <a:bodyPr lIns="68510" tIns="34259" rIns="68510" bIns="34259"/>
            <a:lstStyle/>
            <a:p>
              <a:pPr algn="ctr" defTabSz="685099" eaLnBrk="0" fontAlgn="base" hangingPunct="0">
                <a:lnSpc>
                  <a:spcPct val="90000"/>
                </a:lnSpc>
                <a:spcBef>
                  <a:spcPct val="0"/>
                </a:spcBef>
                <a:spcAft>
                  <a:spcPct val="0"/>
                </a:spcAft>
                <a:defRPr/>
              </a:pPr>
              <a:endParaRPr kumimoji="1" lang="en-US" sz="1625" dirty="0">
                <a:solidFill>
                  <a:srgbClr val="007670"/>
                </a:solidFill>
                <a:latin typeface="Arial" panose="020B0604020202020204" pitchFamily="34" charset="0"/>
                <a:ea typeface="ＭＳ Ｐゴシック" charset="-128"/>
                <a:cs typeface="Arial"/>
              </a:endParaRPr>
            </a:p>
          </p:txBody>
        </p:sp>
        <p:sp>
          <p:nvSpPr>
            <p:cNvPr id="429" name="Oval 428"/>
            <p:cNvSpPr/>
            <p:nvPr/>
          </p:nvSpPr>
          <p:spPr bwMode="auto">
            <a:xfrm>
              <a:off x="999510" y="5909284"/>
              <a:ext cx="1199535" cy="431946"/>
            </a:xfrm>
            <a:prstGeom prst="ellipse">
              <a:avLst/>
            </a:prstGeom>
            <a:noFill/>
            <a:ln w="25400" cap="flat" cmpd="sng" algn="ctr">
              <a:solidFill>
                <a:schemeClr val="tx1"/>
              </a:solidFill>
              <a:prstDash val="solid"/>
              <a:round/>
              <a:headEnd type="none" w="med" len="med"/>
              <a:tailEnd type="none" w="med" len="med"/>
            </a:ln>
            <a:effectLst/>
            <a:extLst/>
          </p:spPr>
          <p:txBody>
            <a:bodyPr lIns="68510" tIns="34259" rIns="68510" bIns="34259"/>
            <a:lstStyle/>
            <a:p>
              <a:pPr algn="ctr" defTabSz="685099" eaLnBrk="0" fontAlgn="base" hangingPunct="0">
                <a:lnSpc>
                  <a:spcPct val="90000"/>
                </a:lnSpc>
                <a:spcBef>
                  <a:spcPct val="0"/>
                </a:spcBef>
                <a:spcAft>
                  <a:spcPct val="0"/>
                </a:spcAft>
                <a:defRPr/>
              </a:pPr>
              <a:endParaRPr kumimoji="1" lang="en-US" sz="1625" dirty="0">
                <a:solidFill>
                  <a:srgbClr val="007670"/>
                </a:solidFill>
                <a:latin typeface="Arial" panose="020B0604020202020204" pitchFamily="34" charset="0"/>
                <a:ea typeface="ＭＳ Ｐゴシック" charset="-128"/>
                <a:cs typeface="Arial"/>
              </a:endParaRPr>
            </a:p>
          </p:txBody>
        </p:sp>
        <p:sp>
          <p:nvSpPr>
            <p:cNvPr id="430" name="Oval 429"/>
            <p:cNvSpPr/>
            <p:nvPr/>
          </p:nvSpPr>
          <p:spPr bwMode="auto">
            <a:xfrm>
              <a:off x="7272750" y="1520653"/>
              <a:ext cx="1183330" cy="431946"/>
            </a:xfrm>
            <a:prstGeom prst="ellipse">
              <a:avLst/>
            </a:prstGeom>
            <a:noFill/>
            <a:ln w="25400" cap="flat" cmpd="sng" algn="ctr">
              <a:solidFill>
                <a:schemeClr val="tx1"/>
              </a:solidFill>
              <a:prstDash val="solid"/>
              <a:round/>
              <a:headEnd type="none" w="med" len="med"/>
              <a:tailEnd type="none" w="med" len="med"/>
            </a:ln>
            <a:effectLst/>
            <a:extLst/>
          </p:spPr>
          <p:txBody>
            <a:bodyPr lIns="68510" tIns="34259" rIns="68510" bIns="34259"/>
            <a:lstStyle/>
            <a:p>
              <a:pPr algn="ctr" defTabSz="685099" eaLnBrk="0" fontAlgn="base" hangingPunct="0">
                <a:lnSpc>
                  <a:spcPct val="90000"/>
                </a:lnSpc>
                <a:spcBef>
                  <a:spcPct val="0"/>
                </a:spcBef>
                <a:spcAft>
                  <a:spcPct val="0"/>
                </a:spcAft>
                <a:defRPr/>
              </a:pPr>
              <a:endParaRPr kumimoji="1" lang="en-US" sz="1625" dirty="0">
                <a:solidFill>
                  <a:srgbClr val="007670"/>
                </a:solidFill>
                <a:latin typeface="Arial" panose="020B0604020202020204" pitchFamily="34" charset="0"/>
                <a:ea typeface="ＭＳ Ｐゴシック" charset="-128"/>
                <a:cs typeface="Arial"/>
              </a:endParaRPr>
            </a:p>
          </p:txBody>
        </p:sp>
        <p:sp>
          <p:nvSpPr>
            <p:cNvPr id="431" name="Oval 430"/>
            <p:cNvSpPr/>
            <p:nvPr/>
          </p:nvSpPr>
          <p:spPr bwMode="auto">
            <a:xfrm>
              <a:off x="3949718" y="5615551"/>
              <a:ext cx="1199535" cy="449230"/>
            </a:xfrm>
            <a:prstGeom prst="ellipse">
              <a:avLst/>
            </a:prstGeom>
            <a:noFill/>
            <a:ln w="25400" cap="flat" cmpd="sng" algn="ctr">
              <a:solidFill>
                <a:schemeClr val="tx1"/>
              </a:solidFill>
              <a:prstDash val="solid"/>
              <a:round/>
              <a:headEnd type="none" w="med" len="med"/>
              <a:tailEnd type="none" w="med" len="med"/>
            </a:ln>
            <a:effectLst/>
            <a:extLst/>
          </p:spPr>
          <p:txBody>
            <a:bodyPr lIns="68510" tIns="34259" rIns="68510" bIns="34259"/>
            <a:lstStyle/>
            <a:p>
              <a:pPr algn="ctr" defTabSz="685099" eaLnBrk="0" fontAlgn="base" hangingPunct="0">
                <a:lnSpc>
                  <a:spcPct val="90000"/>
                </a:lnSpc>
                <a:spcBef>
                  <a:spcPct val="0"/>
                </a:spcBef>
                <a:spcAft>
                  <a:spcPct val="0"/>
                </a:spcAft>
                <a:defRPr/>
              </a:pPr>
              <a:endParaRPr kumimoji="1" lang="en-US" sz="1625" dirty="0">
                <a:solidFill>
                  <a:srgbClr val="007670"/>
                </a:solidFill>
                <a:latin typeface="Arial" panose="020B0604020202020204" pitchFamily="34" charset="0"/>
                <a:ea typeface="ＭＳ Ｐゴシック" charset="-128"/>
                <a:cs typeface="Arial"/>
              </a:endParaRPr>
            </a:p>
          </p:txBody>
        </p:sp>
        <p:sp>
          <p:nvSpPr>
            <p:cNvPr id="432" name="Oval 431"/>
            <p:cNvSpPr/>
            <p:nvPr/>
          </p:nvSpPr>
          <p:spPr bwMode="auto">
            <a:xfrm>
              <a:off x="788776" y="4630706"/>
              <a:ext cx="1183330" cy="431946"/>
            </a:xfrm>
            <a:prstGeom prst="ellipse">
              <a:avLst/>
            </a:prstGeom>
            <a:noFill/>
            <a:ln w="50800" cap="flat" cmpd="sng" algn="ctr">
              <a:solidFill>
                <a:srgbClr val="FF0000"/>
              </a:solidFill>
              <a:prstDash val="solid"/>
              <a:round/>
              <a:headEnd type="none" w="med" len="med"/>
              <a:tailEnd type="none" w="med" len="med"/>
            </a:ln>
            <a:effectLst/>
            <a:extLst/>
          </p:spPr>
          <p:txBody>
            <a:bodyPr lIns="68510" tIns="34259" rIns="68510" bIns="34259"/>
            <a:lstStyle/>
            <a:p>
              <a:pPr algn="ctr" defTabSz="685099" eaLnBrk="0" fontAlgn="base" hangingPunct="0">
                <a:lnSpc>
                  <a:spcPct val="90000"/>
                </a:lnSpc>
                <a:spcBef>
                  <a:spcPct val="0"/>
                </a:spcBef>
                <a:spcAft>
                  <a:spcPct val="0"/>
                </a:spcAft>
                <a:defRPr/>
              </a:pPr>
              <a:endParaRPr kumimoji="1" lang="en-US" sz="1625" dirty="0">
                <a:solidFill>
                  <a:srgbClr val="007670"/>
                </a:solidFill>
                <a:latin typeface="Arial" panose="020B0604020202020204" pitchFamily="34" charset="0"/>
                <a:ea typeface="ＭＳ Ｐゴシック" charset="-128"/>
                <a:cs typeface="Arial"/>
              </a:endParaRPr>
            </a:p>
          </p:txBody>
        </p:sp>
        <p:sp>
          <p:nvSpPr>
            <p:cNvPr id="433" name="Oval 432"/>
            <p:cNvSpPr/>
            <p:nvPr/>
          </p:nvSpPr>
          <p:spPr bwMode="auto">
            <a:xfrm>
              <a:off x="3868663" y="2004439"/>
              <a:ext cx="1199535" cy="431946"/>
            </a:xfrm>
            <a:prstGeom prst="ellipse">
              <a:avLst/>
            </a:prstGeom>
            <a:noFill/>
            <a:ln w="50800" cap="flat" cmpd="sng" algn="ctr">
              <a:solidFill>
                <a:srgbClr val="FF0000"/>
              </a:solidFill>
              <a:prstDash val="solid"/>
              <a:round/>
              <a:headEnd type="none" w="med" len="med"/>
              <a:tailEnd type="none" w="med" len="med"/>
            </a:ln>
            <a:effectLst/>
            <a:extLst/>
          </p:spPr>
          <p:txBody>
            <a:bodyPr lIns="68510" tIns="34259" rIns="68510" bIns="34259"/>
            <a:lstStyle/>
            <a:p>
              <a:pPr algn="ctr" defTabSz="685099" eaLnBrk="0" fontAlgn="base" hangingPunct="0">
                <a:lnSpc>
                  <a:spcPct val="90000"/>
                </a:lnSpc>
                <a:spcBef>
                  <a:spcPct val="0"/>
                </a:spcBef>
                <a:spcAft>
                  <a:spcPct val="0"/>
                </a:spcAft>
                <a:defRPr/>
              </a:pPr>
              <a:endParaRPr kumimoji="1" lang="en-US" sz="1625" dirty="0">
                <a:solidFill>
                  <a:srgbClr val="007670"/>
                </a:solidFill>
                <a:latin typeface="Arial" panose="020B0604020202020204" pitchFamily="34" charset="0"/>
                <a:ea typeface="ＭＳ Ｐゴシック" charset="-128"/>
                <a:cs typeface="Arial"/>
              </a:endParaRPr>
            </a:p>
          </p:txBody>
        </p:sp>
        <p:sp>
          <p:nvSpPr>
            <p:cNvPr id="434" name="Oval 433"/>
            <p:cNvSpPr/>
            <p:nvPr/>
          </p:nvSpPr>
          <p:spPr bwMode="auto">
            <a:xfrm>
              <a:off x="7288965" y="3524910"/>
              <a:ext cx="1199535" cy="431946"/>
            </a:xfrm>
            <a:prstGeom prst="ellipse">
              <a:avLst/>
            </a:prstGeom>
            <a:noFill/>
            <a:ln w="50800" cap="flat" cmpd="sng" algn="ctr">
              <a:solidFill>
                <a:srgbClr val="FF0000"/>
              </a:solidFill>
              <a:prstDash val="solid"/>
              <a:round/>
              <a:headEnd type="none" w="med" len="med"/>
              <a:tailEnd type="none" w="med" len="med"/>
            </a:ln>
            <a:effectLst/>
            <a:extLst/>
          </p:spPr>
          <p:txBody>
            <a:bodyPr lIns="68510" tIns="34259" rIns="68510" bIns="34259"/>
            <a:lstStyle/>
            <a:p>
              <a:pPr algn="ctr" defTabSz="685099" eaLnBrk="0" fontAlgn="base" hangingPunct="0">
                <a:lnSpc>
                  <a:spcPct val="90000"/>
                </a:lnSpc>
                <a:spcBef>
                  <a:spcPct val="0"/>
                </a:spcBef>
                <a:spcAft>
                  <a:spcPct val="0"/>
                </a:spcAft>
                <a:defRPr/>
              </a:pPr>
              <a:endParaRPr kumimoji="1" lang="en-US" sz="1625" dirty="0">
                <a:solidFill>
                  <a:srgbClr val="007670"/>
                </a:solidFill>
                <a:latin typeface="Arial" panose="020B0604020202020204" pitchFamily="34" charset="0"/>
                <a:ea typeface="ＭＳ Ｐゴシック" charset="-128"/>
                <a:cs typeface="Arial"/>
              </a:endParaRPr>
            </a:p>
          </p:txBody>
        </p:sp>
        <p:pic>
          <p:nvPicPr>
            <p:cNvPr id="26709" name="Picture 2"/>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9313155" y="1976883"/>
              <a:ext cx="2822575" cy="284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6710" name="Straight Connector 31"/>
            <p:cNvCxnSpPr>
              <a:cxnSpLocks noChangeShapeType="1"/>
              <a:stCxn id="433" idx="6"/>
            </p:cNvCxnSpPr>
            <p:nvPr/>
          </p:nvCxnSpPr>
          <p:spPr bwMode="auto">
            <a:xfrm>
              <a:off x="5071382" y="2222694"/>
              <a:ext cx="4747868" cy="101287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6711" name="Straight Connector 35"/>
            <p:cNvCxnSpPr>
              <a:cxnSpLocks noChangeShapeType="1"/>
            </p:cNvCxnSpPr>
            <p:nvPr/>
          </p:nvCxnSpPr>
          <p:spPr bwMode="auto">
            <a:xfrm flipV="1">
              <a:off x="8539090" y="3207459"/>
              <a:ext cx="1252025" cy="492369"/>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6712" name="Straight Connector 37"/>
            <p:cNvCxnSpPr>
              <a:cxnSpLocks noChangeShapeType="1"/>
              <a:stCxn id="432" idx="6"/>
            </p:cNvCxnSpPr>
            <p:nvPr/>
          </p:nvCxnSpPr>
          <p:spPr bwMode="auto">
            <a:xfrm flipV="1">
              <a:off x="1978854" y="3221502"/>
              <a:ext cx="7826349" cy="1620127"/>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6713" name="Straight Connector 39"/>
            <p:cNvCxnSpPr>
              <a:cxnSpLocks noChangeShapeType="1"/>
              <a:stCxn id="428" idx="6"/>
            </p:cNvCxnSpPr>
            <p:nvPr/>
          </p:nvCxnSpPr>
          <p:spPr bwMode="auto">
            <a:xfrm>
              <a:off x="1882706" y="3198054"/>
              <a:ext cx="7936545" cy="9381"/>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6714" name="Straight Connector 40"/>
            <p:cNvCxnSpPr>
              <a:cxnSpLocks noChangeShapeType="1"/>
            </p:cNvCxnSpPr>
            <p:nvPr/>
          </p:nvCxnSpPr>
          <p:spPr bwMode="auto">
            <a:xfrm>
              <a:off x="5092504" y="1763924"/>
              <a:ext cx="4698613" cy="1471647"/>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6715" name="Straight Connector 41"/>
            <p:cNvCxnSpPr>
              <a:cxnSpLocks noChangeShapeType="1"/>
            </p:cNvCxnSpPr>
            <p:nvPr/>
          </p:nvCxnSpPr>
          <p:spPr bwMode="auto">
            <a:xfrm>
              <a:off x="8449991" y="1731097"/>
              <a:ext cx="1327056" cy="1518541"/>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6716" name="Straight Connector 42"/>
            <p:cNvCxnSpPr>
              <a:cxnSpLocks noChangeShapeType="1"/>
            </p:cNvCxnSpPr>
            <p:nvPr/>
          </p:nvCxnSpPr>
          <p:spPr bwMode="auto">
            <a:xfrm flipV="1">
              <a:off x="5146429" y="3207434"/>
              <a:ext cx="4644685" cy="2619712"/>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6717" name="Straight Connector 43"/>
            <p:cNvCxnSpPr>
              <a:cxnSpLocks noChangeShapeType="1"/>
            </p:cNvCxnSpPr>
            <p:nvPr/>
          </p:nvCxnSpPr>
          <p:spPr bwMode="auto">
            <a:xfrm flipV="1">
              <a:off x="2049191" y="3235571"/>
              <a:ext cx="7741924" cy="2772107"/>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6718" name="Straight Connector 45"/>
            <p:cNvCxnSpPr>
              <a:cxnSpLocks noChangeShapeType="1"/>
              <a:stCxn id="425" idx="6"/>
            </p:cNvCxnSpPr>
            <p:nvPr/>
          </p:nvCxnSpPr>
          <p:spPr bwMode="auto">
            <a:xfrm flipV="1">
              <a:off x="8356189" y="3235579"/>
              <a:ext cx="1420858" cy="837026"/>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446" name="Oval 445"/>
            <p:cNvSpPr/>
            <p:nvPr/>
          </p:nvSpPr>
          <p:spPr bwMode="auto">
            <a:xfrm>
              <a:off x="7110650" y="604909"/>
              <a:ext cx="1183330" cy="431957"/>
            </a:xfrm>
            <a:prstGeom prst="ellipse">
              <a:avLst/>
            </a:prstGeom>
            <a:noFill/>
            <a:ln w="50800" cap="flat" cmpd="sng" algn="ctr">
              <a:solidFill>
                <a:srgbClr val="FF0000"/>
              </a:solidFill>
              <a:prstDash val="solid"/>
              <a:round/>
              <a:headEnd type="none" w="med" len="med"/>
              <a:tailEnd type="none" w="med" len="med"/>
            </a:ln>
            <a:effectLst/>
            <a:extLst/>
          </p:spPr>
          <p:txBody>
            <a:bodyPr lIns="68510" tIns="34259" rIns="68510" bIns="34259"/>
            <a:lstStyle/>
            <a:p>
              <a:pPr algn="ctr" defTabSz="685099" eaLnBrk="0" fontAlgn="base" hangingPunct="0">
                <a:lnSpc>
                  <a:spcPct val="90000"/>
                </a:lnSpc>
                <a:spcBef>
                  <a:spcPct val="0"/>
                </a:spcBef>
                <a:spcAft>
                  <a:spcPct val="0"/>
                </a:spcAft>
                <a:defRPr/>
              </a:pPr>
              <a:endParaRPr kumimoji="1" lang="en-US" sz="1625" dirty="0">
                <a:solidFill>
                  <a:srgbClr val="007670"/>
                </a:solidFill>
                <a:latin typeface="Arial" panose="020B0604020202020204" pitchFamily="34" charset="0"/>
                <a:ea typeface="ＭＳ Ｐゴシック" charset="-128"/>
                <a:cs typeface="Arial"/>
              </a:endParaRPr>
            </a:p>
          </p:txBody>
        </p:sp>
        <p:cxnSp>
          <p:nvCxnSpPr>
            <p:cNvPr id="26720" name="Straight Connector 36"/>
            <p:cNvCxnSpPr>
              <a:cxnSpLocks noChangeShapeType="1"/>
            </p:cNvCxnSpPr>
            <p:nvPr/>
          </p:nvCxnSpPr>
          <p:spPr bwMode="auto">
            <a:xfrm rot="16200000" flipH="1">
              <a:off x="7862487" y="1335081"/>
              <a:ext cx="2408262" cy="1420858"/>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grpSp>
      <p:pic>
        <p:nvPicPr>
          <p:cNvPr id="26691" name="Picture 2" descr="C:\Users\IBM_ADMIN\Desktop\Belleville_Ks.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5317331" y="3838575"/>
            <a:ext cx="77628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 name="Rounded Rectangle 38"/>
          <p:cNvSpPr>
            <a:spLocks noChangeArrowheads="1"/>
          </p:cNvSpPr>
          <p:nvPr/>
        </p:nvSpPr>
        <p:spPr bwMode="auto">
          <a:xfrm>
            <a:off x="390525" y="1335881"/>
            <a:ext cx="2035969" cy="628650"/>
          </a:xfrm>
          <a:prstGeom prst="roundRect">
            <a:avLst>
              <a:gd name="adj" fmla="val 12514"/>
            </a:avLst>
          </a:prstGeom>
          <a:solidFill>
            <a:srgbClr val="FFFFFF">
              <a:alpha val="87842"/>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a:spcBef>
                <a:spcPct val="20000"/>
              </a:spcBef>
              <a:buClr>
                <a:srgbClr val="00649D"/>
              </a:buClr>
              <a:buFont typeface="Wingdings" pitchFamily="2" charset="2"/>
              <a:buChar char="§"/>
              <a:defRPr>
                <a:solidFill>
                  <a:schemeClr val="tx1"/>
                </a:solidFill>
                <a:latin typeface="Arial" pitchFamily="34" charset="0"/>
                <a:ea typeface="Calibri" pitchFamily="34" charset="0"/>
                <a:cs typeface="Calibri" pitchFamily="34" charset="0"/>
              </a:defRPr>
            </a:lvl1pPr>
            <a:lvl2pPr marL="341313" indent="-228600">
              <a:spcBef>
                <a:spcPct val="20000"/>
              </a:spcBef>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2pPr>
            <a:lvl3pPr marL="684213" indent="-228600">
              <a:spcBef>
                <a:spcPct val="20000"/>
              </a:spcBef>
              <a:buClr>
                <a:srgbClr val="00649D"/>
              </a:buClr>
              <a:buChar char="•"/>
              <a:defRPr>
                <a:solidFill>
                  <a:schemeClr val="tx1"/>
                </a:solidFill>
                <a:latin typeface="Arial" pitchFamily="34" charset="0"/>
                <a:ea typeface="Calibri" pitchFamily="34" charset="0"/>
                <a:cs typeface="Calibri" pitchFamily="34" charset="0"/>
              </a:defRPr>
            </a:lvl3pPr>
            <a:lvl4pPr marL="1027113" indent="-177800">
              <a:spcBef>
                <a:spcPct val="20000"/>
              </a:spcBef>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4pPr>
            <a:lvl5pPr marL="1370013" indent="-228600">
              <a:spcBef>
                <a:spcPct val="20000"/>
              </a:spcBef>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5pPr>
            <a:lvl6pPr marL="1827213" indent="-228600" eaLnBrk="0" fontAlgn="base" hangingPunct="0">
              <a:spcBef>
                <a:spcPct val="20000"/>
              </a:spcBef>
              <a:spcAft>
                <a:spcPct val="0"/>
              </a:spcAft>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6pPr>
            <a:lvl7pPr marL="2284413" indent="-228600" eaLnBrk="0" fontAlgn="base" hangingPunct="0">
              <a:spcBef>
                <a:spcPct val="20000"/>
              </a:spcBef>
              <a:spcAft>
                <a:spcPct val="0"/>
              </a:spcAft>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7pPr>
            <a:lvl8pPr marL="2741613" indent="-228600" eaLnBrk="0" fontAlgn="base" hangingPunct="0">
              <a:spcBef>
                <a:spcPct val="20000"/>
              </a:spcBef>
              <a:spcAft>
                <a:spcPct val="0"/>
              </a:spcAft>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8pPr>
            <a:lvl9pPr marL="3198813" indent="-228600" eaLnBrk="0" fontAlgn="base" hangingPunct="0">
              <a:spcBef>
                <a:spcPct val="20000"/>
              </a:spcBef>
              <a:spcAft>
                <a:spcPct val="0"/>
              </a:spcAft>
              <a:buClr>
                <a:srgbClr val="00649D"/>
              </a:buClr>
              <a:buFont typeface="Arial" pitchFamily="34" charset="0"/>
              <a:buChar char="•"/>
              <a:defRPr>
                <a:solidFill>
                  <a:schemeClr val="tx1"/>
                </a:solidFill>
                <a:latin typeface="Arial" pitchFamily="34" charset="0"/>
                <a:ea typeface="Calibri" pitchFamily="34" charset="0"/>
                <a:cs typeface="Calibri" pitchFamily="34" charset="0"/>
              </a:defRPr>
            </a:lvl9pPr>
          </a:lstStyle>
          <a:p>
            <a:pPr marL="128588" indent="-128588" defTabSz="685800">
              <a:lnSpc>
                <a:spcPct val="90000"/>
              </a:lnSpc>
              <a:spcBef>
                <a:spcPct val="0"/>
              </a:spcBef>
              <a:buClrTx/>
              <a:defRPr/>
            </a:pPr>
            <a:r>
              <a:rPr lang="en-US" altLang="en-US" sz="788" kern="0" dirty="0">
                <a:solidFill>
                  <a:srgbClr val="000000"/>
                </a:solidFill>
                <a:latin typeface="HelvNeue Light for IBM" pitchFamily="34" charset="0"/>
                <a:ea typeface="MS PGothic" pitchFamily="34" charset="-128"/>
                <a:cs typeface="Arial" pitchFamily="34" charset="0"/>
              </a:rPr>
              <a:t>Weather</a:t>
            </a:r>
          </a:p>
          <a:p>
            <a:pPr marL="128588" indent="-128588" defTabSz="685800">
              <a:lnSpc>
                <a:spcPct val="90000"/>
              </a:lnSpc>
              <a:spcBef>
                <a:spcPct val="0"/>
              </a:spcBef>
              <a:buClrTx/>
              <a:defRPr/>
            </a:pPr>
            <a:r>
              <a:rPr lang="en-US" altLang="en-US" sz="788" kern="0" dirty="0">
                <a:solidFill>
                  <a:srgbClr val="000000"/>
                </a:solidFill>
                <a:latin typeface="HelvNeue Light for IBM" pitchFamily="34" charset="0"/>
                <a:ea typeface="MS PGothic" pitchFamily="34" charset="-128"/>
                <a:cs typeface="Arial" pitchFamily="34" charset="0"/>
              </a:rPr>
              <a:t>Normalized Difference Vegetation Index</a:t>
            </a:r>
          </a:p>
          <a:p>
            <a:pPr marL="128588" indent="-128588" defTabSz="685800">
              <a:lnSpc>
                <a:spcPct val="90000"/>
              </a:lnSpc>
              <a:spcBef>
                <a:spcPct val="0"/>
              </a:spcBef>
              <a:buClrTx/>
              <a:defRPr/>
            </a:pPr>
            <a:r>
              <a:rPr lang="en-US" altLang="en-US" sz="788" kern="0" dirty="0">
                <a:solidFill>
                  <a:srgbClr val="000000"/>
                </a:solidFill>
                <a:latin typeface="HelvNeue Light for IBM" pitchFamily="34" charset="0"/>
                <a:ea typeface="MS PGothic" pitchFamily="34" charset="-128"/>
                <a:cs typeface="Arial" pitchFamily="34" charset="0"/>
              </a:rPr>
              <a:t>Social media </a:t>
            </a:r>
          </a:p>
          <a:p>
            <a:pPr marL="128588" indent="-128588" defTabSz="685800">
              <a:lnSpc>
                <a:spcPct val="90000"/>
              </a:lnSpc>
              <a:spcBef>
                <a:spcPct val="0"/>
              </a:spcBef>
              <a:buClrTx/>
              <a:defRPr/>
            </a:pPr>
            <a:r>
              <a:rPr lang="en-US" altLang="en-US" sz="788" kern="0" dirty="0">
                <a:solidFill>
                  <a:srgbClr val="000000"/>
                </a:solidFill>
                <a:latin typeface="HelvNeue Light for IBM" pitchFamily="34" charset="0"/>
                <a:ea typeface="MS PGothic" pitchFamily="34" charset="-128"/>
                <a:cs typeface="Arial" pitchFamily="34" charset="0"/>
              </a:rPr>
              <a:t>M</a:t>
            </a:r>
            <a:r>
              <a:rPr lang="en-US" altLang="en-US" sz="788" kern="0" dirty="0" err="1">
                <a:solidFill>
                  <a:srgbClr val="000000"/>
                </a:solidFill>
                <a:latin typeface="HelvNeue Light for IBM" pitchFamily="34" charset="0"/>
                <a:ea typeface="MS PGothic" pitchFamily="34" charset="-128"/>
                <a:cs typeface="Arial" pitchFamily="34" charset="0"/>
              </a:rPr>
              <a:t>arket</a:t>
            </a:r>
            <a:r>
              <a:rPr lang="en-US" altLang="en-US" sz="788" kern="0" dirty="0">
                <a:solidFill>
                  <a:srgbClr val="000000"/>
                </a:solidFill>
                <a:latin typeface="HelvNeue Light for IBM" pitchFamily="34" charset="0"/>
                <a:ea typeface="MS PGothic" pitchFamily="34" charset="-128"/>
                <a:cs typeface="Arial" pitchFamily="34" charset="0"/>
              </a:rPr>
              <a:t> price</a:t>
            </a:r>
          </a:p>
          <a:p>
            <a:pPr marL="128588" indent="-128588" defTabSz="685800">
              <a:lnSpc>
                <a:spcPct val="90000"/>
              </a:lnSpc>
              <a:spcBef>
                <a:spcPct val="0"/>
              </a:spcBef>
              <a:buClrTx/>
              <a:defRPr/>
            </a:pPr>
            <a:r>
              <a:rPr lang="en-US" altLang="en-US" sz="788" kern="0" dirty="0">
                <a:solidFill>
                  <a:srgbClr val="000000"/>
                </a:solidFill>
                <a:latin typeface="HelvNeue Light for IBM" pitchFamily="34" charset="0"/>
                <a:ea typeface="MS PGothic" pitchFamily="34" charset="-128"/>
                <a:cs typeface="Arial" pitchFamily="34" charset="0"/>
              </a:rPr>
              <a:t>Year to date yields </a:t>
            </a:r>
          </a:p>
        </p:txBody>
      </p:sp>
    </p:spTree>
    <p:extLst>
      <p:ext uri="{BB962C8B-B14F-4D97-AF65-F5344CB8AC3E}">
        <p14:creationId xmlns:p14="http://schemas.microsoft.com/office/powerpoint/2010/main" val="317447647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https://upload.wikimedia.org/wikipedia/commons/1/1a/Kansas_Summer_Wheat_and_Storm_Panorama.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 y="0"/>
            <a:ext cx="9157097"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3" name="TextBox 2"/>
          <p:cNvSpPr txBox="1">
            <a:spLocks noChangeArrowheads="1"/>
          </p:cNvSpPr>
          <p:nvPr/>
        </p:nvSpPr>
        <p:spPr bwMode="auto">
          <a:xfrm>
            <a:off x="230981" y="205979"/>
            <a:ext cx="8229600" cy="437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1217613">
              <a:defRPr kumimoji="1">
                <a:solidFill>
                  <a:schemeClr val="tx1"/>
                </a:solidFill>
                <a:latin typeface="Arial" panose="020B0604020202020204" pitchFamily="34" charset="0"/>
                <a:ea typeface="MS PGothic" panose="020B0600070205080204" pitchFamily="34" charset="-128"/>
              </a:defRPr>
            </a:lvl1pPr>
            <a:lvl2pPr marL="742950" indent="-285750" defTabSz="1217613">
              <a:defRPr kumimoji="1">
                <a:solidFill>
                  <a:schemeClr val="tx1"/>
                </a:solidFill>
                <a:latin typeface="Arial" panose="020B0604020202020204" pitchFamily="34" charset="0"/>
                <a:ea typeface="MS PGothic" panose="020B0600070205080204" pitchFamily="34" charset="-128"/>
              </a:defRPr>
            </a:lvl2pPr>
            <a:lvl3pPr marL="1143000" indent="-228600" defTabSz="1217613">
              <a:defRPr kumimoji="1">
                <a:solidFill>
                  <a:schemeClr val="tx1"/>
                </a:solidFill>
                <a:latin typeface="Arial" panose="020B0604020202020204" pitchFamily="34" charset="0"/>
                <a:ea typeface="MS PGothic" panose="020B0600070205080204" pitchFamily="34" charset="-128"/>
              </a:defRPr>
            </a:lvl3pPr>
            <a:lvl4pPr marL="1600200" indent="-228600" defTabSz="1217613">
              <a:defRPr kumimoji="1">
                <a:solidFill>
                  <a:schemeClr val="tx1"/>
                </a:solidFill>
                <a:latin typeface="Arial" panose="020B0604020202020204" pitchFamily="34" charset="0"/>
                <a:ea typeface="MS PGothic" panose="020B0600070205080204" pitchFamily="34" charset="-128"/>
              </a:defRPr>
            </a:lvl4pPr>
            <a:lvl5pPr marL="2057400" indent="-228600" defTabSz="1217613">
              <a:defRPr kumimoji="1">
                <a:solidFill>
                  <a:schemeClr val="tx1"/>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defTabSz="913210" fontAlgn="base">
              <a:lnSpc>
                <a:spcPts val="2025"/>
              </a:lnSpc>
              <a:spcBef>
                <a:spcPct val="0"/>
              </a:spcBef>
              <a:spcAft>
                <a:spcPts val="600"/>
              </a:spcAft>
            </a:pPr>
            <a:r>
              <a:rPr lang="en-US" altLang="en-US" sz="1500">
                <a:solidFill>
                  <a:srgbClr val="FFFFFF"/>
                </a:solidFill>
                <a:cs typeface="Arial"/>
              </a:rPr>
              <a:t>Cognitive Computing and Advanced Analytics are game changers in Agriculture. By leveraging the massive amounts of data available on crops, weather, soil, seeds, crop protection, regions, products, markets, and other data, agribusinesses can access a clear, informed view of the dynamics, potential, and volatility in the marketplace and in the fields. </a:t>
            </a:r>
          </a:p>
        </p:txBody>
      </p:sp>
      <p:sp>
        <p:nvSpPr>
          <p:cNvPr id="10244" name="Rectangle 3"/>
          <p:cNvSpPr>
            <a:spLocks noChangeArrowheads="1"/>
          </p:cNvSpPr>
          <p:nvPr/>
        </p:nvSpPr>
        <p:spPr bwMode="auto">
          <a:xfrm>
            <a:off x="2022873" y="4140042"/>
            <a:ext cx="6969919"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algn="r" defTabSz="685800" eaLnBrk="0" fontAlgn="base" hangingPunct="0">
              <a:lnSpc>
                <a:spcPts val="2025"/>
              </a:lnSpc>
              <a:spcBef>
                <a:spcPct val="0"/>
              </a:spcBef>
              <a:spcAft>
                <a:spcPct val="0"/>
              </a:spcAft>
            </a:pPr>
            <a:r>
              <a:rPr lang="en-US" altLang="en-US" sz="2400">
                <a:solidFill>
                  <a:srgbClr val="FFFFFF"/>
                </a:solidFill>
                <a:cs typeface="Arial"/>
              </a:rPr>
              <a:t>Ultimately it allows farmers and agribusinesses to be proactive instead of reactive – and to turn uncertainty into opportunity.</a:t>
            </a:r>
          </a:p>
        </p:txBody>
      </p:sp>
    </p:spTree>
    <p:extLst>
      <p:ext uri="{BB962C8B-B14F-4D97-AF65-F5344CB8AC3E}">
        <p14:creationId xmlns:p14="http://schemas.microsoft.com/office/powerpoint/2010/main" val="226625581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radius="72"/>
                    </a14:imgEffect>
                  </a14:imgLayer>
                </a14:imgProps>
              </a:ext>
              <a:ext uri="{28A0092B-C50C-407E-A947-70E740481C1C}">
                <a14:useLocalDpi xmlns:a14="http://schemas.microsoft.com/office/drawing/2010/main"/>
              </a:ext>
            </a:extLst>
          </a:blip>
          <a:srcRect/>
          <a:stretch/>
        </p:blipFill>
        <p:spPr>
          <a:xfrm>
            <a:off x="0" y="-19050"/>
            <a:ext cx="9144000" cy="5143500"/>
          </a:xfrm>
          <a:prstGeom prst="rect">
            <a:avLst/>
          </a:prstGeom>
          <a:blipFill>
            <a:blip r:embed="rId5" cstate="email">
              <a:extLst>
                <a:ext uri="{28A0092B-C50C-407E-A947-70E740481C1C}">
                  <a14:useLocalDpi xmlns:a14="http://schemas.microsoft.com/office/drawing/2010/main"/>
                </a:ext>
              </a:extLst>
            </a:blip>
            <a:stretch>
              <a:fillRect/>
            </a:stretch>
          </a:blipFill>
        </p:spPr>
      </p:pic>
      <p:sp>
        <p:nvSpPr>
          <p:cNvPr id="3" name="Rectangle 2"/>
          <p:cNvSpPr/>
          <p:nvPr/>
        </p:nvSpPr>
        <p:spPr>
          <a:xfrm>
            <a:off x="-3" y="2027279"/>
            <a:ext cx="4441310" cy="677108"/>
          </a:xfrm>
          <a:prstGeom prst="rect">
            <a:avLst/>
          </a:prstGeom>
          <a:solidFill>
            <a:srgbClr val="002060">
              <a:alpha val="81000"/>
            </a:srgbClr>
          </a:solidFill>
        </p:spPr>
        <p:txBody>
          <a:bodyPr wrap="square" lIns="457200" anchor="ctr">
            <a:spAutoFit/>
          </a:bodyPr>
          <a:lstStyle/>
          <a:p>
            <a:r>
              <a:rPr lang="en-US" sz="2000" b="1" dirty="0">
                <a:solidFill>
                  <a:srgbClr val="FFC000"/>
                </a:solidFill>
                <a:latin typeface="Helvetica Neue Thin" charset="0"/>
                <a:ea typeface="Helvetica Neue Thin" charset="0"/>
                <a:cs typeface="Helvetica Neue Thin" charset="0"/>
              </a:rPr>
              <a:t>Precision</a:t>
            </a:r>
          </a:p>
          <a:p>
            <a:r>
              <a:rPr lang="en-US" dirty="0">
                <a:solidFill>
                  <a:schemeClr val="bg1"/>
                </a:solidFill>
                <a:latin typeface="Helvetica Neue Thin" charset="0"/>
                <a:ea typeface="Helvetica Neue Thin" charset="0"/>
                <a:cs typeface="Helvetica Neue Thin" charset="0"/>
              </a:rPr>
              <a:t>100x greater times coverage</a:t>
            </a:r>
          </a:p>
        </p:txBody>
      </p:sp>
      <p:sp>
        <p:nvSpPr>
          <p:cNvPr id="4" name="Rectangle 3"/>
          <p:cNvSpPr/>
          <p:nvPr/>
        </p:nvSpPr>
        <p:spPr>
          <a:xfrm>
            <a:off x="16352" y="4019550"/>
            <a:ext cx="4441149" cy="677108"/>
          </a:xfrm>
          <a:prstGeom prst="rect">
            <a:avLst/>
          </a:prstGeom>
          <a:solidFill>
            <a:srgbClr val="002060">
              <a:alpha val="81000"/>
            </a:srgbClr>
          </a:solidFill>
        </p:spPr>
        <p:txBody>
          <a:bodyPr wrap="square" lIns="457200" anchor="ctr">
            <a:spAutoFit/>
          </a:bodyPr>
          <a:lstStyle/>
          <a:p>
            <a:r>
              <a:rPr lang="en-US" sz="2000" b="1" dirty="0">
                <a:solidFill>
                  <a:srgbClr val="FFC000"/>
                </a:solidFill>
                <a:latin typeface="Helvetica Neue Thin" charset="0"/>
                <a:ea typeface="Helvetica Neue Thin" charset="0"/>
                <a:cs typeface="Helvetica Neue Thin" charset="0"/>
              </a:rPr>
              <a:t>Speed</a:t>
            </a:r>
          </a:p>
          <a:p>
            <a:r>
              <a:rPr lang="en-US" dirty="0">
                <a:solidFill>
                  <a:schemeClr val="bg1"/>
                </a:solidFill>
                <a:latin typeface="Helvetica Neue Thin" charset="0"/>
                <a:ea typeface="Helvetica Neue Thin" charset="0"/>
                <a:cs typeface="Helvetica Neue Thin" charset="0"/>
              </a:rPr>
              <a:t>Forecast updates every 15 minutes</a:t>
            </a:r>
          </a:p>
        </p:txBody>
      </p:sp>
      <p:sp>
        <p:nvSpPr>
          <p:cNvPr id="5" name="Rectangle 4"/>
          <p:cNvSpPr/>
          <p:nvPr/>
        </p:nvSpPr>
        <p:spPr>
          <a:xfrm>
            <a:off x="10850" y="3028950"/>
            <a:ext cx="4452157" cy="677108"/>
          </a:xfrm>
          <a:prstGeom prst="rect">
            <a:avLst/>
          </a:prstGeom>
          <a:solidFill>
            <a:srgbClr val="002060">
              <a:alpha val="81000"/>
            </a:srgbClr>
          </a:solidFill>
        </p:spPr>
        <p:txBody>
          <a:bodyPr wrap="square" lIns="457200" anchor="ctr">
            <a:spAutoFit/>
          </a:bodyPr>
          <a:lstStyle/>
          <a:p>
            <a:r>
              <a:rPr lang="en-US" sz="2000" b="1" dirty="0">
                <a:solidFill>
                  <a:srgbClr val="FFC000"/>
                </a:solidFill>
                <a:latin typeface="Helvetica Neue Thin" charset="0"/>
                <a:ea typeface="Helvetica Neue Thin" charset="0"/>
                <a:cs typeface="Helvetica Neue Thin" charset="0"/>
              </a:rPr>
              <a:t>Accuracy </a:t>
            </a:r>
          </a:p>
          <a:p>
            <a:r>
              <a:rPr lang="en-US" dirty="0">
                <a:solidFill>
                  <a:schemeClr val="bg1"/>
                </a:solidFill>
                <a:latin typeface="Helvetica Neue Thin" charset="0"/>
                <a:ea typeface="Helvetica Neue Thin" charset="0"/>
                <a:cs typeface="Helvetica Neue Thin" charset="0"/>
              </a:rPr>
              <a:t>Rated number ONE</a:t>
            </a:r>
          </a:p>
        </p:txBody>
      </p:sp>
      <p:sp>
        <p:nvSpPr>
          <p:cNvPr id="8" name="Rectangle 7"/>
          <p:cNvSpPr>
            <a:spLocks noChangeArrowheads="1"/>
          </p:cNvSpPr>
          <p:nvPr/>
        </p:nvSpPr>
        <p:spPr bwMode="auto">
          <a:xfrm rot="16200000">
            <a:off x="1353874" y="-1353881"/>
            <a:ext cx="1733553" cy="4441307"/>
          </a:xfrm>
          <a:prstGeom prst="rect">
            <a:avLst/>
          </a:prstGeom>
          <a:solidFill>
            <a:schemeClr val="bg1">
              <a:alpha val="85000"/>
            </a:schemeClr>
          </a:solidFill>
          <a:ln>
            <a:noFill/>
          </a:ln>
          <a:extLst/>
        </p:spPr>
        <p:txBody>
          <a:bodyPr/>
          <a:lstStyle/>
          <a:p>
            <a:pPr algn="ctr"/>
            <a:r>
              <a:rPr lang="en-US" dirty="0">
                <a:latin typeface="Arial"/>
                <a:ea typeface="Arial"/>
                <a:cs typeface="Arial"/>
              </a:rPr>
              <a:t>    </a:t>
            </a:r>
          </a:p>
        </p:txBody>
      </p:sp>
      <p:sp>
        <p:nvSpPr>
          <p:cNvPr id="6" name="Rectangle 5"/>
          <p:cNvSpPr/>
          <p:nvPr/>
        </p:nvSpPr>
        <p:spPr>
          <a:xfrm>
            <a:off x="10850" y="361208"/>
            <a:ext cx="4375836" cy="1200329"/>
          </a:xfrm>
          <a:prstGeom prst="rect">
            <a:avLst/>
          </a:prstGeom>
        </p:spPr>
        <p:txBody>
          <a:bodyPr wrap="square">
            <a:spAutoFit/>
          </a:bodyPr>
          <a:lstStyle/>
          <a:p>
            <a:pPr algn="ctr"/>
            <a:r>
              <a:rPr lang="en-US" sz="2400" b="1" dirty="0">
                <a:solidFill>
                  <a:schemeClr val="tx2"/>
                </a:solidFill>
                <a:latin typeface="Arial"/>
                <a:ea typeface="Arial"/>
                <a:cs typeface="Arial"/>
                <a:sym typeface="Arial"/>
                <a:rtl val="0"/>
              </a:rPr>
              <a:t>The Weather Company </a:t>
            </a:r>
            <a:r>
              <a:rPr lang="en-US" sz="2400" b="1" i="1" u="sng" dirty="0">
                <a:solidFill>
                  <a:schemeClr val="tx2"/>
                </a:solidFill>
                <a:latin typeface="Arial"/>
                <a:ea typeface="Arial"/>
                <a:cs typeface="Arial"/>
                <a:sym typeface="Arial"/>
                <a:rtl val="0"/>
              </a:rPr>
              <a:t>IS</a:t>
            </a:r>
          </a:p>
          <a:p>
            <a:pPr algn="ctr"/>
            <a:r>
              <a:rPr lang="en-US" sz="2400" dirty="0">
                <a:solidFill>
                  <a:schemeClr val="tx2"/>
                </a:solidFill>
                <a:latin typeface="Arial"/>
                <a:ea typeface="Arial"/>
                <a:cs typeface="Arial"/>
                <a:sym typeface="Arial"/>
                <a:rtl val="0"/>
              </a:rPr>
              <a:t>the most Precise, Accurate and Timely Data Source</a:t>
            </a:r>
          </a:p>
        </p:txBody>
      </p:sp>
      <p:pic>
        <p:nvPicPr>
          <p:cNvPr id="9" name="Picture 8" descr="TWCo IBM logo_MAIN WHITE VEC.eps"/>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458200" y="4556639"/>
            <a:ext cx="533400" cy="474133"/>
          </a:xfrm>
          <a:prstGeom prst="rect">
            <a:avLst/>
          </a:prstGeom>
        </p:spPr>
      </p:pic>
      <p:sp>
        <p:nvSpPr>
          <p:cNvPr id="10" name="Oval 9"/>
          <p:cNvSpPr/>
          <p:nvPr/>
        </p:nvSpPr>
        <p:spPr>
          <a:xfrm>
            <a:off x="5366433" y="541959"/>
            <a:ext cx="1295762" cy="1295762"/>
          </a:xfrm>
          <a:prstGeom prst="ellipse">
            <a:avLst/>
          </a:prstGeom>
          <a:blipFill dpi="0" rotWithShape="1">
            <a:blip r:embed="rId7" cstate="email">
              <a:extLst>
                <a:ext uri="{28A0092B-C50C-407E-A947-70E740481C1C}">
                  <a14:useLocalDpi xmlns:a14="http://schemas.microsoft.com/office/drawing/2010/main"/>
                </a:ext>
              </a:extLst>
            </a:blip>
            <a:srcRect/>
            <a:stretch>
              <a:fillRect/>
            </a:stretch>
          </a:blipFill>
          <a:ln w="28575">
            <a:solidFill>
              <a:srgbClr val="FFC00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p:cNvSpPr/>
          <p:nvPr/>
        </p:nvSpPr>
        <p:spPr>
          <a:xfrm>
            <a:off x="6101601" y="3497943"/>
            <a:ext cx="1295762" cy="1295762"/>
          </a:xfrm>
          <a:prstGeom prst="ellipse">
            <a:avLst/>
          </a:prstGeom>
          <a:blipFill>
            <a:blip r:embed="rId8" cstate="email">
              <a:extLst>
                <a:ext uri="{28A0092B-C50C-407E-A947-70E740481C1C}">
                  <a14:useLocalDpi xmlns:a14="http://schemas.microsoft.com/office/drawing/2010/main"/>
                </a:ext>
              </a:extLst>
            </a:blip>
            <a:stretch>
              <a:fillRect/>
            </a:stretch>
          </a:blipFill>
          <a:ln w="28575">
            <a:solidFill>
              <a:srgbClr val="FFC00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11"/>
          <p:cNvSpPr/>
          <p:nvPr/>
        </p:nvSpPr>
        <p:spPr>
          <a:xfrm>
            <a:off x="7037348" y="1581150"/>
            <a:ext cx="1295762" cy="1295762"/>
          </a:xfrm>
          <a:prstGeom prst="ellipse">
            <a:avLst/>
          </a:prstGeom>
          <a:blipFill>
            <a:blip r:embed="rId9" cstate="email">
              <a:extLst>
                <a:ext uri="{28A0092B-C50C-407E-A947-70E740481C1C}">
                  <a14:useLocalDpi xmlns:a14="http://schemas.microsoft.com/office/drawing/2010/main"/>
                </a:ext>
              </a:extLst>
            </a:blip>
            <a:stretch>
              <a:fillRect/>
            </a:stretch>
          </a:blipFill>
          <a:ln w="28575">
            <a:solidFill>
              <a:srgbClr val="FFC00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Connector 13"/>
          <p:cNvCxnSpPr>
            <a:stCxn id="3" idx="3"/>
          </p:cNvCxnSpPr>
          <p:nvPr/>
        </p:nvCxnSpPr>
        <p:spPr>
          <a:xfrm flipV="1">
            <a:off x="4441307" y="2351848"/>
            <a:ext cx="1573007" cy="13985"/>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6014314" y="1837724"/>
            <a:ext cx="0" cy="528109"/>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4463006" y="4324350"/>
            <a:ext cx="1638595"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4463006" y="3319266"/>
            <a:ext cx="1987467" cy="14484"/>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6450473" y="2477127"/>
            <a:ext cx="17845" cy="856623"/>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6455298" y="2495550"/>
            <a:ext cx="58205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381510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304800" y="-10641"/>
            <a:ext cx="8839200" cy="4985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defTabSz="914378" eaLnBrk="0" fontAlgn="base" hangingPunct="0">
              <a:spcBef>
                <a:spcPct val="0"/>
              </a:spcBef>
              <a:spcAft>
                <a:spcPct val="0"/>
              </a:spcAft>
            </a:pPr>
            <a:r>
              <a:rPr lang="nl-BE" sz="1200" b="1" dirty="0">
                <a:solidFill>
                  <a:srgbClr val="071950"/>
                </a:solidFill>
                <a:latin typeface="Georgia" panose="02040502050405020303" pitchFamily="18" charset="0"/>
                <a:hlinkClick r:id="rId2"/>
              </a:rPr>
              <a:t>Details for each package can be found in these links.</a:t>
            </a:r>
            <a:endParaRPr lang="en-US" sz="1200" b="1" dirty="0">
              <a:solidFill>
                <a:srgbClr val="071950"/>
              </a:solidFill>
              <a:latin typeface="Georgia" panose="02040502050405020303" pitchFamily="18" charset="0"/>
              <a:hlinkClick r:id="rId2"/>
            </a:endParaRPr>
          </a:p>
          <a:p>
            <a:pPr defTabSz="914378" eaLnBrk="0" fontAlgn="base" hangingPunct="0">
              <a:spcBef>
                <a:spcPct val="0"/>
              </a:spcBef>
              <a:spcAft>
                <a:spcPct val="0"/>
              </a:spcAft>
            </a:pPr>
            <a:endParaRPr lang="en-US" sz="1200" u="sng" dirty="0">
              <a:solidFill>
                <a:srgbClr val="0000FF"/>
              </a:solidFill>
              <a:latin typeface="Georgia" panose="02040502050405020303" pitchFamily="18" charset="0"/>
              <a:hlinkClick r:id="rId2"/>
            </a:endParaRPr>
          </a:p>
          <a:p>
            <a:pPr defTabSz="914378" eaLnBrk="0" fontAlgn="base" hangingPunct="0">
              <a:spcBef>
                <a:spcPct val="0"/>
              </a:spcBef>
              <a:spcAft>
                <a:spcPct val="0"/>
              </a:spcAft>
            </a:pPr>
            <a:r>
              <a:rPr lang="en-US" sz="1200" u="sng" dirty="0">
                <a:solidFill>
                  <a:srgbClr val="0000FF"/>
                </a:solidFill>
                <a:latin typeface="Georgia" panose="02040502050405020303" pitchFamily="18" charset="0"/>
                <a:hlinkClick r:id="rId2"/>
              </a:rPr>
              <a:t>https://docs.google.com/document/d/15Ru_3wdMgpbM4aOCm-4qNAnRfjx2w-Ruw3lnr8Hnodk/edit#</a:t>
            </a:r>
            <a:r>
              <a:rPr lang="en-US" sz="700" dirty="0">
                <a:solidFill>
                  <a:prstClr val="black"/>
                </a:solidFill>
              </a:rPr>
              <a:t> </a:t>
            </a:r>
            <a:r>
              <a:rPr lang="en-US" dirty="0">
                <a:solidFill>
                  <a:prstClr val="black"/>
                </a:solidFill>
                <a:latin typeface="Arial" panose="020B0604020202020204" pitchFamily="34" charset="0"/>
              </a:rPr>
              <a:t/>
            </a:r>
            <a:br>
              <a:rPr lang="en-US" dirty="0">
                <a:solidFill>
                  <a:prstClr val="black"/>
                </a:solidFill>
                <a:latin typeface="Arial" panose="020B0604020202020204" pitchFamily="34" charset="0"/>
              </a:rPr>
            </a:br>
            <a:r>
              <a:rPr lang="en-US" sz="1200" u="sng" dirty="0">
                <a:solidFill>
                  <a:srgbClr val="0000FF"/>
                </a:solidFill>
                <a:latin typeface="Georgia" panose="02040502050405020303" pitchFamily="18" charset="0"/>
                <a:hlinkClick r:id="rId3"/>
              </a:rPr>
              <a:t>https://docs.google.com/document/d/1ft6XnmgM4PdZk5q0ap8p9d9cRu6rIB6peAnt7YUinEM/edit</a:t>
            </a:r>
            <a:r>
              <a:rPr lang="en-US" sz="700" dirty="0">
                <a:solidFill>
                  <a:prstClr val="black"/>
                </a:solidFill>
              </a:rPr>
              <a:t> </a:t>
            </a:r>
            <a:r>
              <a:rPr lang="en-US" dirty="0">
                <a:solidFill>
                  <a:prstClr val="black"/>
                </a:solidFill>
                <a:latin typeface="Arial" panose="020B0604020202020204" pitchFamily="34" charset="0"/>
              </a:rPr>
              <a:t/>
            </a:r>
            <a:br>
              <a:rPr lang="en-US" dirty="0">
                <a:solidFill>
                  <a:prstClr val="black"/>
                </a:solidFill>
                <a:latin typeface="Arial" panose="020B0604020202020204" pitchFamily="34" charset="0"/>
              </a:rPr>
            </a:br>
            <a:r>
              <a:rPr lang="en-US" dirty="0">
                <a:solidFill>
                  <a:prstClr val="black"/>
                </a:solidFill>
                <a:latin typeface="Arial" panose="020B0604020202020204" pitchFamily="34" charset="0"/>
              </a:rPr>
              <a:t/>
            </a:r>
            <a:br>
              <a:rPr lang="en-US" dirty="0">
                <a:solidFill>
                  <a:prstClr val="black"/>
                </a:solidFill>
                <a:latin typeface="Arial" panose="020B0604020202020204" pitchFamily="34" charset="0"/>
              </a:rPr>
            </a:br>
            <a:r>
              <a:rPr lang="en-US" sz="1200" dirty="0">
                <a:solidFill>
                  <a:prstClr val="black"/>
                </a:solidFill>
                <a:latin typeface="Georgia" panose="02040502050405020303" pitchFamily="18" charset="0"/>
              </a:rPr>
              <a:t>These highlights of the packages will probably be useful </a:t>
            </a:r>
            <a:r>
              <a:rPr lang="en-US" sz="1200" dirty="0" smtClean="0">
                <a:solidFill>
                  <a:prstClr val="black"/>
                </a:solidFill>
                <a:latin typeface="Georgia" panose="02040502050405020303" pitchFamily="18" charset="0"/>
              </a:rPr>
              <a:t>for agricultural use cases:</a:t>
            </a:r>
            <a:endParaRPr lang="en-US" sz="1200" dirty="0">
              <a:solidFill>
                <a:prstClr val="black"/>
              </a:solidFill>
              <a:latin typeface="Georgia" panose="02040502050405020303" pitchFamily="18" charset="0"/>
            </a:endParaRPr>
          </a:p>
          <a:p>
            <a:pPr defTabSz="914378" eaLnBrk="0" fontAlgn="base" hangingPunct="0">
              <a:spcBef>
                <a:spcPct val="0"/>
              </a:spcBef>
              <a:spcAft>
                <a:spcPct val="0"/>
              </a:spcAft>
            </a:pPr>
            <a:endParaRPr lang="en-US" dirty="0">
              <a:solidFill>
                <a:prstClr val="black"/>
              </a:solidFill>
              <a:latin typeface="Arial" panose="020B0604020202020204" pitchFamily="34" charset="0"/>
            </a:endParaRPr>
          </a:p>
          <a:p>
            <a:pPr defTabSz="914378" eaLnBrk="0" fontAlgn="base" hangingPunct="0">
              <a:spcBef>
                <a:spcPct val="0"/>
              </a:spcBef>
              <a:spcAft>
                <a:spcPct val="0"/>
              </a:spcAft>
              <a:buFontTx/>
              <a:buChar char="•"/>
            </a:pPr>
            <a:r>
              <a:rPr lang="en-US" sz="1200" b="1" dirty="0">
                <a:solidFill>
                  <a:prstClr val="black"/>
                </a:solidFill>
                <a:latin typeface="Georgia" panose="02040502050405020303" pitchFamily="18" charset="0"/>
              </a:rPr>
              <a:t>1-15 day hourly forecasts </a:t>
            </a:r>
            <a:r>
              <a:rPr lang="en-US" sz="1200" dirty="0">
                <a:solidFill>
                  <a:prstClr val="black"/>
                </a:solidFill>
                <a:latin typeface="Georgia" panose="02040502050405020303" pitchFamily="18" charset="0"/>
              </a:rPr>
              <a:t>- 500m global grid of precision forecasts. They enter a </a:t>
            </a:r>
            <a:r>
              <a:rPr lang="en-US" sz="1200" dirty="0" err="1">
                <a:solidFill>
                  <a:prstClr val="black"/>
                </a:solidFill>
                <a:latin typeface="Georgia" panose="02040502050405020303" pitchFamily="18" charset="0"/>
              </a:rPr>
              <a:t>lat</a:t>
            </a:r>
            <a:r>
              <a:rPr lang="en-US" sz="1200" dirty="0">
                <a:solidFill>
                  <a:prstClr val="black"/>
                </a:solidFill>
                <a:latin typeface="Georgia" panose="02040502050405020303" pitchFamily="18" charset="0"/>
              </a:rPr>
              <a:t>/</a:t>
            </a:r>
            <a:r>
              <a:rPr lang="en-US" sz="1200" dirty="0" err="1">
                <a:solidFill>
                  <a:prstClr val="black"/>
                </a:solidFill>
                <a:latin typeface="Georgia" panose="02040502050405020303" pitchFamily="18" charset="0"/>
              </a:rPr>
              <a:t>lon</a:t>
            </a:r>
            <a:r>
              <a:rPr lang="en-US" sz="1200" dirty="0">
                <a:solidFill>
                  <a:prstClr val="black"/>
                </a:solidFill>
                <a:latin typeface="Georgia" panose="02040502050405020303" pitchFamily="18" charset="0"/>
              </a:rPr>
              <a:t> of a farm and receive that precise location forecast. Forecasts update every 15 minutes! **Forecasts for solar irradiance, soil moisture, soil temperature and evapotranspiration will be available soon ***</a:t>
            </a:r>
            <a:r>
              <a:rPr lang="en-US" sz="700" dirty="0">
                <a:solidFill>
                  <a:prstClr val="black"/>
                </a:solidFill>
              </a:rPr>
              <a:t> </a:t>
            </a:r>
            <a:endParaRPr lang="en-US" dirty="0">
              <a:solidFill>
                <a:prstClr val="black"/>
              </a:solidFill>
              <a:latin typeface="Arial" panose="020B0604020202020204" pitchFamily="34" charset="0"/>
            </a:endParaRPr>
          </a:p>
          <a:p>
            <a:pPr defTabSz="914378" eaLnBrk="0" fontAlgn="base" hangingPunct="0">
              <a:spcBef>
                <a:spcPct val="0"/>
              </a:spcBef>
              <a:spcAft>
                <a:spcPct val="0"/>
              </a:spcAft>
              <a:buFontTx/>
              <a:buChar char="•"/>
            </a:pPr>
            <a:r>
              <a:rPr lang="en-US" sz="1200" b="1" dirty="0">
                <a:solidFill>
                  <a:prstClr val="black"/>
                </a:solidFill>
                <a:latin typeface="Georgia" panose="02040502050405020303" pitchFamily="18" charset="0"/>
              </a:rPr>
              <a:t>Current Observations</a:t>
            </a:r>
            <a:r>
              <a:rPr lang="en-US" sz="1200" dirty="0">
                <a:solidFill>
                  <a:prstClr val="black"/>
                </a:solidFill>
                <a:latin typeface="Georgia" panose="02040502050405020303" pitchFamily="18" charset="0"/>
              </a:rPr>
              <a:t> - 500m global grid of current observations. </a:t>
            </a:r>
            <a:r>
              <a:rPr lang="en-US" sz="1200" b="1" dirty="0">
                <a:solidFill>
                  <a:prstClr val="black"/>
                </a:solidFill>
                <a:latin typeface="Georgia" panose="02040502050405020303" pitchFamily="18" charset="0"/>
              </a:rPr>
              <a:t>This also includes the ability to pull from personal weather stations as well!​</a:t>
            </a:r>
            <a:r>
              <a:rPr lang="en-US" sz="700" dirty="0">
                <a:solidFill>
                  <a:prstClr val="black"/>
                </a:solidFill>
              </a:rPr>
              <a:t> </a:t>
            </a:r>
            <a:endParaRPr lang="en-US" dirty="0">
              <a:solidFill>
                <a:prstClr val="black"/>
              </a:solidFill>
              <a:latin typeface="Arial" panose="020B0604020202020204" pitchFamily="34" charset="0"/>
            </a:endParaRPr>
          </a:p>
          <a:p>
            <a:pPr defTabSz="914378" eaLnBrk="0" fontAlgn="base" hangingPunct="0">
              <a:spcBef>
                <a:spcPct val="0"/>
              </a:spcBef>
              <a:spcAft>
                <a:spcPct val="0"/>
              </a:spcAft>
              <a:buFontTx/>
              <a:buChar char="•"/>
            </a:pPr>
            <a:r>
              <a:rPr lang="en-US" sz="1200" b="1" dirty="0">
                <a:solidFill>
                  <a:prstClr val="black"/>
                </a:solidFill>
                <a:latin typeface="Georgia" panose="02040502050405020303" pitchFamily="18" charset="0"/>
              </a:rPr>
              <a:t>​Seasonal Forecasts</a:t>
            </a:r>
            <a:r>
              <a:rPr lang="en-US" sz="1200" dirty="0">
                <a:solidFill>
                  <a:prstClr val="black"/>
                </a:solidFill>
                <a:latin typeface="Georgia" panose="02040502050405020303" pitchFamily="18" charset="0"/>
              </a:rPr>
              <a:t> - pull the anomaly forecast for any location for precipitation and temperature for months 1-7​</a:t>
            </a:r>
            <a:r>
              <a:rPr lang="en-US" sz="700" dirty="0">
                <a:solidFill>
                  <a:prstClr val="black"/>
                </a:solidFill>
              </a:rPr>
              <a:t> </a:t>
            </a:r>
            <a:endParaRPr lang="en-US" dirty="0">
              <a:solidFill>
                <a:prstClr val="black"/>
              </a:solidFill>
              <a:latin typeface="Arial" panose="020B0604020202020204" pitchFamily="34" charset="0"/>
            </a:endParaRPr>
          </a:p>
          <a:p>
            <a:pPr defTabSz="914378" eaLnBrk="0" fontAlgn="base" hangingPunct="0">
              <a:spcBef>
                <a:spcPct val="0"/>
              </a:spcBef>
              <a:spcAft>
                <a:spcPct val="0"/>
              </a:spcAft>
              <a:buFontTx/>
              <a:buChar char="•"/>
            </a:pPr>
            <a:r>
              <a:rPr lang="en-US" sz="1200" dirty="0">
                <a:solidFill>
                  <a:prstClr val="black"/>
                </a:solidFill>
                <a:latin typeface="Georgia" panose="02040502050405020303" pitchFamily="18" charset="0"/>
              </a:rPr>
              <a:t>​</a:t>
            </a:r>
            <a:r>
              <a:rPr lang="en-US" sz="1200" b="1" dirty="0">
                <a:solidFill>
                  <a:prstClr val="black"/>
                </a:solidFill>
                <a:latin typeface="Georgia" panose="02040502050405020303" pitchFamily="18" charset="0"/>
              </a:rPr>
              <a:t>Growing Degree Day Forecasts</a:t>
            </a:r>
            <a:r>
              <a:rPr lang="en-US" sz="1200" dirty="0">
                <a:solidFill>
                  <a:prstClr val="black"/>
                </a:solidFill>
                <a:latin typeface="Georgia" panose="02040502050405020303" pitchFamily="18" charset="0"/>
              </a:rPr>
              <a:t>​ - based on temperature of 50 degrees F.</a:t>
            </a:r>
            <a:r>
              <a:rPr lang="en-US" sz="700" dirty="0">
                <a:solidFill>
                  <a:prstClr val="black"/>
                </a:solidFill>
              </a:rPr>
              <a:t> </a:t>
            </a:r>
            <a:endParaRPr lang="en-US" dirty="0">
              <a:solidFill>
                <a:prstClr val="black"/>
              </a:solidFill>
              <a:latin typeface="Arial" panose="020B0604020202020204" pitchFamily="34" charset="0"/>
            </a:endParaRPr>
          </a:p>
          <a:p>
            <a:pPr defTabSz="914378" eaLnBrk="0" fontAlgn="base" hangingPunct="0">
              <a:spcBef>
                <a:spcPct val="0"/>
              </a:spcBef>
              <a:spcAft>
                <a:spcPct val="0"/>
              </a:spcAft>
              <a:buFontTx/>
              <a:buChar char="•"/>
            </a:pPr>
            <a:r>
              <a:rPr lang="en-US" sz="1200" b="1" dirty="0">
                <a:solidFill>
                  <a:prstClr val="black"/>
                </a:solidFill>
                <a:latin typeface="Georgia" panose="02040502050405020303" pitchFamily="18" charset="0"/>
              </a:rPr>
              <a:t>Frost Forecast</a:t>
            </a:r>
            <a:r>
              <a:rPr lang="en-US" sz="1200" dirty="0">
                <a:solidFill>
                  <a:prstClr val="black"/>
                </a:solidFill>
                <a:latin typeface="Georgia" panose="02040502050405020303" pitchFamily="18" charset="0"/>
              </a:rPr>
              <a:t>  - out 15 days - provides likelihood of frost </a:t>
            </a:r>
            <a:r>
              <a:rPr lang="en-US" sz="700" dirty="0">
                <a:solidFill>
                  <a:prstClr val="black"/>
                </a:solidFill>
              </a:rPr>
              <a:t> </a:t>
            </a:r>
            <a:endParaRPr lang="en-US" dirty="0">
              <a:solidFill>
                <a:prstClr val="black"/>
              </a:solidFill>
              <a:latin typeface="Arial" panose="020B0604020202020204" pitchFamily="34" charset="0"/>
            </a:endParaRPr>
          </a:p>
          <a:p>
            <a:pPr defTabSz="914378" eaLnBrk="0" fontAlgn="base" hangingPunct="0">
              <a:spcBef>
                <a:spcPct val="0"/>
              </a:spcBef>
              <a:spcAft>
                <a:spcPct val="0"/>
              </a:spcAft>
              <a:buFontTx/>
              <a:buChar char="•"/>
            </a:pPr>
            <a:r>
              <a:rPr lang="en-US" sz="1200" b="1" dirty="0">
                <a:solidFill>
                  <a:prstClr val="black"/>
                </a:solidFill>
                <a:latin typeface="Georgia" panose="02040502050405020303" pitchFamily="18" charset="0"/>
              </a:rPr>
              <a:t>Cleaned Historical API - </a:t>
            </a:r>
            <a:r>
              <a:rPr lang="en-US" sz="1200" dirty="0">
                <a:solidFill>
                  <a:prstClr val="black"/>
                </a:solidFill>
                <a:latin typeface="Georgia" panose="02040502050405020303" pitchFamily="18" charset="0"/>
              </a:rPr>
              <a:t>provides quality controlled and gap filled historical observations back to 1979. This API provides variables specific to Ag such as:</a:t>
            </a:r>
            <a:r>
              <a:rPr lang="en-US" sz="700" dirty="0">
                <a:solidFill>
                  <a:prstClr val="black"/>
                </a:solidFill>
              </a:rPr>
              <a:t> </a:t>
            </a:r>
            <a:endParaRPr lang="en-US" dirty="0">
              <a:solidFill>
                <a:prstClr val="black"/>
              </a:solidFill>
              <a:latin typeface="Arial" panose="020B0604020202020204" pitchFamily="34" charset="0"/>
            </a:endParaRPr>
          </a:p>
          <a:p>
            <a:pPr marL="457189" lvl="1" defTabSz="914378" eaLnBrk="0" fontAlgn="base" hangingPunct="0">
              <a:spcBef>
                <a:spcPct val="0"/>
              </a:spcBef>
              <a:spcAft>
                <a:spcPct val="0"/>
              </a:spcAft>
              <a:buFontTx/>
              <a:buChar char="•"/>
            </a:pPr>
            <a:r>
              <a:rPr lang="en-US" sz="1200" dirty="0">
                <a:solidFill>
                  <a:prstClr val="black"/>
                </a:solidFill>
                <a:latin typeface="Georgia" panose="02040502050405020303" pitchFamily="18" charset="0"/>
              </a:rPr>
              <a:t>Solar Irradiance</a:t>
            </a:r>
            <a:r>
              <a:rPr lang="en-US" sz="700" dirty="0">
                <a:solidFill>
                  <a:prstClr val="black"/>
                </a:solidFill>
              </a:rPr>
              <a:t> </a:t>
            </a:r>
            <a:endParaRPr lang="en-US" dirty="0">
              <a:solidFill>
                <a:prstClr val="black"/>
              </a:solidFill>
              <a:latin typeface="Arial" panose="020B0604020202020204" pitchFamily="34" charset="0"/>
            </a:endParaRPr>
          </a:p>
          <a:p>
            <a:pPr marL="457189" lvl="1" defTabSz="914378" eaLnBrk="0" fontAlgn="base" hangingPunct="0">
              <a:spcBef>
                <a:spcPct val="0"/>
              </a:spcBef>
              <a:spcAft>
                <a:spcPct val="0"/>
              </a:spcAft>
              <a:buFontTx/>
              <a:buChar char="•"/>
            </a:pPr>
            <a:r>
              <a:rPr lang="en-US" sz="1200" dirty="0">
                <a:solidFill>
                  <a:prstClr val="black"/>
                </a:solidFill>
                <a:latin typeface="Georgia" panose="02040502050405020303" pitchFamily="18" charset="0"/>
              </a:rPr>
              <a:t>Soil Moisture (0-10cm &amp; 10-40cm)</a:t>
            </a:r>
            <a:r>
              <a:rPr lang="en-US" sz="700" dirty="0">
                <a:solidFill>
                  <a:prstClr val="black"/>
                </a:solidFill>
              </a:rPr>
              <a:t> </a:t>
            </a:r>
            <a:endParaRPr lang="en-US" dirty="0">
              <a:solidFill>
                <a:prstClr val="black"/>
              </a:solidFill>
              <a:latin typeface="Arial" panose="020B0604020202020204" pitchFamily="34" charset="0"/>
            </a:endParaRPr>
          </a:p>
          <a:p>
            <a:pPr marL="457189" lvl="1" defTabSz="914378" eaLnBrk="0" fontAlgn="base" hangingPunct="0">
              <a:spcBef>
                <a:spcPct val="0"/>
              </a:spcBef>
              <a:spcAft>
                <a:spcPct val="0"/>
              </a:spcAft>
              <a:buFontTx/>
              <a:buChar char="•"/>
            </a:pPr>
            <a:r>
              <a:rPr lang="en-US" sz="1200" dirty="0">
                <a:solidFill>
                  <a:prstClr val="black"/>
                </a:solidFill>
                <a:latin typeface="Georgia" panose="02040502050405020303" pitchFamily="18" charset="0"/>
              </a:rPr>
              <a:t>Soil Temperature (0-10cm &amp; 10-40cm)</a:t>
            </a:r>
            <a:r>
              <a:rPr lang="en-US" sz="700" dirty="0">
                <a:solidFill>
                  <a:prstClr val="black"/>
                </a:solidFill>
              </a:rPr>
              <a:t> </a:t>
            </a:r>
            <a:endParaRPr lang="en-US" dirty="0">
              <a:solidFill>
                <a:prstClr val="black"/>
              </a:solidFill>
              <a:latin typeface="Arial" panose="020B0604020202020204" pitchFamily="34" charset="0"/>
            </a:endParaRPr>
          </a:p>
          <a:p>
            <a:pPr marL="457189" lvl="1" defTabSz="914378" eaLnBrk="0" fontAlgn="base" hangingPunct="0">
              <a:spcBef>
                <a:spcPct val="0"/>
              </a:spcBef>
              <a:spcAft>
                <a:spcPct val="0"/>
              </a:spcAft>
              <a:buFontTx/>
              <a:buChar char="•"/>
            </a:pPr>
            <a:r>
              <a:rPr lang="en-US" sz="1200" dirty="0">
                <a:solidFill>
                  <a:prstClr val="black"/>
                </a:solidFill>
                <a:latin typeface="Georgia" panose="02040502050405020303" pitchFamily="18" charset="0"/>
              </a:rPr>
              <a:t>Evapotranspiration</a:t>
            </a:r>
            <a:r>
              <a:rPr lang="en-US" sz="700" dirty="0">
                <a:solidFill>
                  <a:prstClr val="black"/>
                </a:solidFill>
              </a:rPr>
              <a:t> </a:t>
            </a:r>
            <a:endParaRPr lang="en-US" dirty="0">
              <a:solidFill>
                <a:prstClr val="black"/>
              </a:solidFill>
              <a:latin typeface="Arial" panose="020B0604020202020204" pitchFamily="34" charset="0"/>
            </a:endParaRPr>
          </a:p>
          <a:p>
            <a:pPr marL="457189" lvl="1" defTabSz="914378" eaLnBrk="0" fontAlgn="base" hangingPunct="0">
              <a:spcBef>
                <a:spcPct val="0"/>
              </a:spcBef>
              <a:spcAft>
                <a:spcPct val="0"/>
              </a:spcAft>
              <a:buFontTx/>
              <a:buChar char="•"/>
            </a:pPr>
            <a:r>
              <a:rPr lang="en-US" sz="1200" dirty="0">
                <a:solidFill>
                  <a:prstClr val="black"/>
                </a:solidFill>
                <a:latin typeface="Georgia" panose="02040502050405020303" pitchFamily="18" charset="0"/>
              </a:rPr>
              <a:t>Surface Runoff</a:t>
            </a:r>
            <a:endParaRPr lang="en-US" sz="700" dirty="0">
              <a:solidFill>
                <a:prstClr val="black"/>
              </a:solidFill>
            </a:endParaRPr>
          </a:p>
          <a:p>
            <a:pPr marL="457189" lvl="1" defTabSz="914378" eaLnBrk="0" fontAlgn="base" hangingPunct="0">
              <a:spcBef>
                <a:spcPct val="0"/>
              </a:spcBef>
              <a:spcAft>
                <a:spcPct val="0"/>
              </a:spcAft>
            </a:pPr>
            <a:endParaRPr lang="en-US" dirty="0">
              <a:solidFill>
                <a:prstClr val="black"/>
              </a:solidFill>
              <a:latin typeface="Arial" panose="020B0604020202020204" pitchFamily="34" charset="0"/>
            </a:endParaRPr>
          </a:p>
          <a:p>
            <a:pPr marL="0" lvl="1" defTabSz="914378" eaLnBrk="0" fontAlgn="base" hangingPunct="0">
              <a:spcBef>
                <a:spcPct val="0"/>
              </a:spcBef>
              <a:spcAft>
                <a:spcPct val="0"/>
              </a:spcAft>
            </a:pPr>
            <a:r>
              <a:rPr lang="en-US" sz="1200" dirty="0">
                <a:solidFill>
                  <a:prstClr val="black"/>
                </a:solidFill>
                <a:latin typeface="Georgia" panose="02040502050405020303" pitchFamily="18" charset="0"/>
              </a:rPr>
              <a:t>​We certainly have many other APIs and forecast options, so if you have an idea of something they'd like to see which is</a:t>
            </a:r>
          </a:p>
          <a:p>
            <a:pPr marL="0" lvl="1" defTabSz="914378" eaLnBrk="0" fontAlgn="base" hangingPunct="0">
              <a:spcBef>
                <a:spcPct val="0"/>
              </a:spcBef>
              <a:spcAft>
                <a:spcPct val="0"/>
              </a:spcAft>
            </a:pPr>
            <a:r>
              <a:rPr lang="en-US" sz="1200" dirty="0">
                <a:solidFill>
                  <a:prstClr val="black"/>
                </a:solidFill>
                <a:latin typeface="Georgia" panose="02040502050405020303" pitchFamily="18" charset="0"/>
              </a:rPr>
              <a:t> not included, please let </a:t>
            </a:r>
            <a:r>
              <a:rPr lang="en-US" sz="1200" dirty="0" smtClean="0">
                <a:solidFill>
                  <a:prstClr val="black"/>
                </a:solidFill>
                <a:latin typeface="Georgia" panose="02040502050405020303" pitchFamily="18" charset="0"/>
              </a:rPr>
              <a:t>us know </a:t>
            </a:r>
            <a:r>
              <a:rPr lang="en-US" sz="1200" dirty="0">
                <a:solidFill>
                  <a:prstClr val="black"/>
                </a:solidFill>
                <a:latin typeface="Georgia" panose="02040502050405020303" pitchFamily="18" charset="0"/>
              </a:rPr>
              <a:t>as there's a good chance we have it or will have it soon!​</a:t>
            </a:r>
            <a:r>
              <a:rPr lang="en-US" sz="700" dirty="0">
                <a:solidFill>
                  <a:prstClr val="black"/>
                </a:solidFill>
              </a:rPr>
              <a:t> </a:t>
            </a:r>
            <a:endParaRPr 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40647326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01013" y="4271963"/>
            <a:ext cx="866775" cy="77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ounded Rectangle 9"/>
          <p:cNvSpPr/>
          <p:nvPr/>
        </p:nvSpPr>
        <p:spPr>
          <a:xfrm>
            <a:off x="685801" y="781050"/>
            <a:ext cx="2394347" cy="1104900"/>
          </a:xfrm>
          <a:prstGeom prst="roundRect">
            <a:avLst/>
          </a:prstGeom>
          <a:solidFill>
            <a:srgbClr val="FFC000">
              <a:alpha val="8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eaLnBrk="0" fontAlgn="base" hangingPunct="0">
              <a:spcBef>
                <a:spcPct val="0"/>
              </a:spcBef>
              <a:spcAft>
                <a:spcPct val="0"/>
              </a:spcAft>
              <a:defRPr/>
            </a:pPr>
            <a:endParaRPr kumimoji="1" lang="en-US" sz="2000">
              <a:solidFill>
                <a:srgbClr val="FFFFFF"/>
              </a:solidFill>
              <a:latin typeface="Arial"/>
              <a:cs typeface="Arial"/>
            </a:endParaRPr>
          </a:p>
        </p:txBody>
      </p:sp>
      <p:sp>
        <p:nvSpPr>
          <p:cNvPr id="31748" name="Title 1"/>
          <p:cNvSpPr txBox="1">
            <a:spLocks/>
          </p:cNvSpPr>
          <p:nvPr/>
        </p:nvSpPr>
        <p:spPr bwMode="auto">
          <a:xfrm>
            <a:off x="716756" y="919163"/>
            <a:ext cx="2163366"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algn="r" defTabSz="685800" eaLnBrk="0" fontAlgn="base" hangingPunct="0">
              <a:spcBef>
                <a:spcPct val="0"/>
              </a:spcBef>
              <a:spcAft>
                <a:spcPct val="0"/>
              </a:spcAft>
            </a:pPr>
            <a:r>
              <a:rPr lang="en-US" altLang="en-US" sz="5400">
                <a:solidFill>
                  <a:srgbClr val="FFFFFF"/>
                </a:solidFill>
                <a:latin typeface="Helvetica Neue Thin"/>
                <a:ea typeface="Helvetica Neue Thin"/>
                <a:cs typeface="Helvetica Neue Thin"/>
                <a:sym typeface="Arial" panose="020B0604020202020204" pitchFamily="34" charset="0"/>
              </a:rPr>
              <a:t>Thank</a:t>
            </a:r>
          </a:p>
        </p:txBody>
      </p:sp>
      <p:sp>
        <p:nvSpPr>
          <p:cNvPr id="31749" name="Title 1"/>
          <p:cNvSpPr txBox="1">
            <a:spLocks/>
          </p:cNvSpPr>
          <p:nvPr/>
        </p:nvSpPr>
        <p:spPr bwMode="auto">
          <a:xfrm>
            <a:off x="3080148" y="923925"/>
            <a:ext cx="1491853"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defTabSz="685800" eaLnBrk="0" fontAlgn="base" hangingPunct="0">
              <a:spcBef>
                <a:spcPct val="0"/>
              </a:spcBef>
              <a:spcAft>
                <a:spcPct val="0"/>
              </a:spcAft>
            </a:pPr>
            <a:r>
              <a:rPr lang="en-US" altLang="en-US" sz="5400" b="1">
                <a:solidFill>
                  <a:srgbClr val="FFFFFF"/>
                </a:solidFill>
                <a:latin typeface="Helvetica Neue Thin"/>
                <a:ea typeface="Helvetica Neue Thin"/>
                <a:cs typeface="Helvetica Neue Thin"/>
                <a:sym typeface="Arial" panose="020B0604020202020204" pitchFamily="34" charset="0"/>
              </a:rPr>
              <a:t>You</a:t>
            </a:r>
          </a:p>
        </p:txBody>
      </p:sp>
      <p:sp>
        <p:nvSpPr>
          <p:cNvPr id="7" name="TextBox 6"/>
          <p:cNvSpPr txBox="1"/>
          <p:nvPr/>
        </p:nvSpPr>
        <p:spPr>
          <a:xfrm>
            <a:off x="685800" y="2350294"/>
            <a:ext cx="2776466" cy="323165"/>
          </a:xfrm>
          <a:prstGeom prst="rect">
            <a:avLst/>
          </a:prstGeom>
          <a:solidFill>
            <a:schemeClr val="bg1">
              <a:lumMod val="65000"/>
            </a:schemeClr>
          </a:solidFill>
        </p:spPr>
        <p:txBody>
          <a:bodyPr wrap="none">
            <a:spAutoFit/>
          </a:bodyPr>
          <a:lstStyle/>
          <a:p>
            <a:pPr defTabSz="685800" eaLnBrk="0" fontAlgn="base" hangingPunct="0">
              <a:spcBef>
                <a:spcPct val="0"/>
              </a:spcBef>
              <a:spcAft>
                <a:spcPct val="0"/>
              </a:spcAft>
              <a:defRPr/>
            </a:pPr>
            <a:r>
              <a:rPr kumimoji="1" lang="en-US" sz="1500" b="1" dirty="0">
                <a:solidFill>
                  <a:srgbClr val="FFFFFF"/>
                </a:solidFill>
                <a:latin typeface="Helvetica Neue Thin" charset="0"/>
                <a:ea typeface="Helvetica Neue Thin" charset="0"/>
                <a:cs typeface="Helvetica Neue Thin" charset="0"/>
              </a:rPr>
              <a:t>IBM / The Weather Company</a:t>
            </a:r>
          </a:p>
        </p:txBody>
      </p:sp>
    </p:spTree>
    <p:extLst>
      <p:ext uri="{BB962C8B-B14F-4D97-AF65-F5344CB8AC3E}">
        <p14:creationId xmlns:p14="http://schemas.microsoft.com/office/powerpoint/2010/main" val="306623440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Hexagon 15"/>
          <p:cNvSpPr>
            <a:spLocks noChangeArrowheads="1"/>
          </p:cNvSpPr>
          <p:nvPr/>
        </p:nvSpPr>
        <p:spPr bwMode="auto">
          <a:xfrm>
            <a:off x="5673328" y="1922860"/>
            <a:ext cx="1718072" cy="1358503"/>
          </a:xfrm>
          <a:prstGeom prst="hexagon">
            <a:avLst>
              <a:gd name="adj" fmla="val 25030"/>
              <a:gd name="vf" fmla="val 115470"/>
            </a:avLst>
          </a:prstGeom>
          <a:solidFill>
            <a:schemeClr val="bg1"/>
          </a:solidFill>
          <a:ln w="9525">
            <a:solidFill>
              <a:srgbClr val="0070C0"/>
            </a:solidFill>
            <a:miter lim="800000"/>
            <a:headEnd/>
            <a:tailEnd/>
          </a:ln>
        </p:spPr>
        <p:txBody>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685800" fontAlgn="base">
              <a:lnSpc>
                <a:spcPct val="90000"/>
              </a:lnSpc>
              <a:spcBef>
                <a:spcPct val="0"/>
              </a:spcBef>
              <a:spcAft>
                <a:spcPct val="0"/>
              </a:spcAft>
              <a:buClrTx/>
              <a:buNone/>
            </a:pPr>
            <a:endParaRPr kumimoji="1" lang="en-US" altLang="en-US" sz="1200">
              <a:solidFill>
                <a:srgbClr val="FFFFFF"/>
              </a:solidFill>
              <a:ea typeface="MS PGothic" panose="020B0600070205080204" pitchFamily="34" charset="-128"/>
              <a:cs typeface="Arial" panose="020B0604020202020204" pitchFamily="34" charset="0"/>
            </a:endParaRPr>
          </a:p>
        </p:txBody>
      </p:sp>
      <p:sp>
        <p:nvSpPr>
          <p:cNvPr id="12291" name="Hexagon 24"/>
          <p:cNvSpPr>
            <a:spLocks noChangeArrowheads="1"/>
          </p:cNvSpPr>
          <p:nvPr/>
        </p:nvSpPr>
        <p:spPr bwMode="auto">
          <a:xfrm>
            <a:off x="1470423" y="2615803"/>
            <a:ext cx="1716881" cy="1357313"/>
          </a:xfrm>
          <a:prstGeom prst="hexagon">
            <a:avLst>
              <a:gd name="adj" fmla="val 25000"/>
              <a:gd name="vf" fmla="val 115470"/>
            </a:avLst>
          </a:prstGeom>
          <a:solidFill>
            <a:schemeClr val="bg1"/>
          </a:solidFill>
          <a:ln w="9525">
            <a:solidFill>
              <a:srgbClr val="0070C0"/>
            </a:solidFill>
            <a:miter lim="800000"/>
            <a:headEnd/>
            <a:tailEnd/>
          </a:ln>
        </p:spPr>
        <p:txBody>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685800" fontAlgn="base">
              <a:lnSpc>
                <a:spcPct val="90000"/>
              </a:lnSpc>
              <a:spcBef>
                <a:spcPct val="0"/>
              </a:spcBef>
              <a:spcAft>
                <a:spcPct val="0"/>
              </a:spcAft>
              <a:buClrTx/>
              <a:buNone/>
            </a:pPr>
            <a:r>
              <a:rPr kumimoji="1" lang="en-US" altLang="en-US" sz="1650">
                <a:solidFill>
                  <a:srgbClr val="FFFFFF"/>
                </a:solidFill>
                <a:ea typeface="MS PGothic" panose="020B0600070205080204" pitchFamily="34" charset="-128"/>
                <a:cs typeface="Arial" panose="020B0604020202020204" pitchFamily="34" charset="0"/>
              </a:rPr>
              <a:t> </a:t>
            </a:r>
          </a:p>
        </p:txBody>
      </p:sp>
      <p:sp>
        <p:nvSpPr>
          <p:cNvPr id="12292" name="Hexagon 25"/>
          <p:cNvSpPr>
            <a:spLocks noChangeArrowheads="1"/>
          </p:cNvSpPr>
          <p:nvPr/>
        </p:nvSpPr>
        <p:spPr bwMode="auto">
          <a:xfrm>
            <a:off x="4271963" y="1229916"/>
            <a:ext cx="1715691" cy="1357313"/>
          </a:xfrm>
          <a:prstGeom prst="hexagon">
            <a:avLst>
              <a:gd name="adj" fmla="val 25006"/>
              <a:gd name="vf" fmla="val 115470"/>
            </a:avLst>
          </a:prstGeom>
          <a:solidFill>
            <a:schemeClr val="bg1"/>
          </a:solidFill>
          <a:ln w="9525">
            <a:solidFill>
              <a:srgbClr val="0070C0"/>
            </a:solidFill>
            <a:miter lim="800000"/>
            <a:headEnd/>
            <a:tailEnd/>
          </a:ln>
        </p:spPr>
        <p:txBody>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685800" fontAlgn="base">
              <a:lnSpc>
                <a:spcPct val="90000"/>
              </a:lnSpc>
              <a:spcBef>
                <a:spcPct val="0"/>
              </a:spcBef>
              <a:spcAft>
                <a:spcPct val="0"/>
              </a:spcAft>
              <a:buClrTx/>
              <a:buNone/>
            </a:pPr>
            <a:endParaRPr kumimoji="1" lang="en-US" altLang="en-US" sz="1650">
              <a:solidFill>
                <a:srgbClr val="FFFFFF"/>
              </a:solidFill>
              <a:ea typeface="MS PGothic" panose="020B0600070205080204" pitchFamily="34" charset="-128"/>
              <a:cs typeface="Arial" panose="020B0604020202020204" pitchFamily="34" charset="0"/>
            </a:endParaRPr>
          </a:p>
        </p:txBody>
      </p:sp>
      <p:sp>
        <p:nvSpPr>
          <p:cNvPr id="12293" name="Hexagon 26"/>
          <p:cNvSpPr>
            <a:spLocks noChangeArrowheads="1"/>
          </p:cNvSpPr>
          <p:nvPr/>
        </p:nvSpPr>
        <p:spPr bwMode="auto">
          <a:xfrm>
            <a:off x="2871788" y="1920479"/>
            <a:ext cx="1715691" cy="1359694"/>
          </a:xfrm>
          <a:prstGeom prst="hexagon">
            <a:avLst>
              <a:gd name="adj" fmla="val 24991"/>
              <a:gd name="vf" fmla="val 115470"/>
            </a:avLst>
          </a:prstGeom>
          <a:solidFill>
            <a:schemeClr val="bg1"/>
          </a:solidFill>
          <a:ln w="9525">
            <a:solidFill>
              <a:srgbClr val="0070C0"/>
            </a:solidFill>
            <a:miter lim="800000"/>
            <a:headEnd/>
            <a:tailEnd/>
          </a:ln>
        </p:spPr>
        <p:txBody>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685800" fontAlgn="base">
              <a:lnSpc>
                <a:spcPct val="90000"/>
              </a:lnSpc>
              <a:spcBef>
                <a:spcPct val="0"/>
              </a:spcBef>
              <a:spcAft>
                <a:spcPct val="0"/>
              </a:spcAft>
              <a:buClrTx/>
              <a:buNone/>
            </a:pPr>
            <a:endParaRPr kumimoji="1" lang="en-US" altLang="en-US" sz="1650">
              <a:solidFill>
                <a:srgbClr val="FFFFFF"/>
              </a:solidFill>
              <a:ea typeface="MS PGothic" panose="020B0600070205080204" pitchFamily="34" charset="-128"/>
              <a:cs typeface="Arial" panose="020B0604020202020204" pitchFamily="34" charset="0"/>
            </a:endParaRPr>
          </a:p>
        </p:txBody>
      </p:sp>
      <p:sp>
        <p:nvSpPr>
          <p:cNvPr id="12294" name="Hexagon 27"/>
          <p:cNvSpPr>
            <a:spLocks noChangeArrowheads="1"/>
          </p:cNvSpPr>
          <p:nvPr/>
        </p:nvSpPr>
        <p:spPr bwMode="auto">
          <a:xfrm>
            <a:off x="4273154" y="2613423"/>
            <a:ext cx="1716881" cy="1358503"/>
          </a:xfrm>
          <a:prstGeom prst="hexagon">
            <a:avLst>
              <a:gd name="adj" fmla="val 25030"/>
              <a:gd name="vf" fmla="val 115470"/>
            </a:avLst>
          </a:prstGeom>
          <a:solidFill>
            <a:schemeClr val="bg1"/>
          </a:solidFill>
          <a:ln w="9525">
            <a:solidFill>
              <a:srgbClr val="0070C0"/>
            </a:solidFill>
            <a:miter lim="800000"/>
            <a:headEnd/>
            <a:tailEnd/>
          </a:ln>
        </p:spPr>
        <p:txBody>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685800" fontAlgn="base">
              <a:lnSpc>
                <a:spcPct val="90000"/>
              </a:lnSpc>
              <a:spcBef>
                <a:spcPct val="0"/>
              </a:spcBef>
              <a:spcAft>
                <a:spcPct val="0"/>
              </a:spcAft>
              <a:buClrTx/>
              <a:buNone/>
            </a:pPr>
            <a:endParaRPr kumimoji="1" lang="en-US" altLang="en-US" sz="1650">
              <a:solidFill>
                <a:srgbClr val="FFFFFF"/>
              </a:solidFill>
              <a:ea typeface="MS PGothic" panose="020B0600070205080204" pitchFamily="34" charset="-128"/>
              <a:cs typeface="Arial" panose="020B0604020202020204" pitchFamily="34" charset="0"/>
            </a:endParaRPr>
          </a:p>
        </p:txBody>
      </p:sp>
      <p:sp>
        <p:nvSpPr>
          <p:cNvPr id="12295" name="Hexagon 28"/>
          <p:cNvSpPr>
            <a:spLocks noChangeArrowheads="1"/>
          </p:cNvSpPr>
          <p:nvPr/>
        </p:nvSpPr>
        <p:spPr bwMode="auto">
          <a:xfrm>
            <a:off x="2876550" y="3306366"/>
            <a:ext cx="1715691" cy="1360884"/>
          </a:xfrm>
          <a:prstGeom prst="hexagon">
            <a:avLst>
              <a:gd name="adj" fmla="val 24963"/>
              <a:gd name="vf" fmla="val 115470"/>
            </a:avLst>
          </a:prstGeom>
          <a:solidFill>
            <a:schemeClr val="bg1"/>
          </a:solidFill>
          <a:ln w="9525">
            <a:solidFill>
              <a:srgbClr val="0070C0"/>
            </a:solidFill>
            <a:miter lim="800000"/>
            <a:headEnd/>
            <a:tailEnd/>
          </a:ln>
        </p:spPr>
        <p:txBody>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685800" fontAlgn="base">
              <a:lnSpc>
                <a:spcPct val="90000"/>
              </a:lnSpc>
              <a:spcBef>
                <a:spcPct val="0"/>
              </a:spcBef>
              <a:spcAft>
                <a:spcPct val="0"/>
              </a:spcAft>
              <a:buClrTx/>
              <a:buNone/>
            </a:pPr>
            <a:endParaRPr kumimoji="1" lang="en-US" altLang="en-US" sz="1650">
              <a:solidFill>
                <a:srgbClr val="FFFFFF"/>
              </a:solidFill>
              <a:ea typeface="MS PGothic" panose="020B0600070205080204" pitchFamily="34" charset="-128"/>
              <a:cs typeface="Arial" panose="020B0604020202020204" pitchFamily="34" charset="0"/>
            </a:endParaRPr>
          </a:p>
        </p:txBody>
      </p:sp>
      <p:sp>
        <p:nvSpPr>
          <p:cNvPr id="49160" name="Title 1"/>
          <p:cNvSpPr>
            <a:spLocks noGrp="1"/>
          </p:cNvSpPr>
          <p:nvPr>
            <p:ph type="title"/>
          </p:nvPr>
        </p:nvSpPr>
        <p:spPr>
          <a:xfrm>
            <a:off x="311944" y="448867"/>
            <a:ext cx="8443913" cy="383381"/>
          </a:xfrm>
        </p:spPr>
        <p:txBody>
          <a:bodyPr vert="horz" wrap="square" lIns="44577" tIns="22289" rIns="44577" bIns="22289" numCol="1" rtlCol="0" anchor="t" anchorCtr="0" compatLnSpc="1">
            <a:prstTxWarp prst="textNoShape">
              <a:avLst/>
            </a:prstTxWarp>
            <a:normAutofit/>
          </a:bodyPr>
          <a:lstStyle/>
          <a:p>
            <a:pPr lvl="1">
              <a:lnSpc>
                <a:spcPct val="90000"/>
              </a:lnSpc>
              <a:defRPr/>
            </a:pPr>
            <a:r>
              <a:rPr lang="en-US" altLang="en-US" dirty="0">
                <a:ea typeface="+mj-ea"/>
              </a:rPr>
              <a:t>Global trends are presenting new opportunities in food systems</a:t>
            </a:r>
          </a:p>
        </p:txBody>
      </p:sp>
      <p:sp>
        <p:nvSpPr>
          <p:cNvPr id="12297" name="Slide Number Placeholder 3"/>
          <p:cNvSpPr>
            <a:spLocks noGrp="1"/>
          </p:cNvSpPr>
          <p:nvPr>
            <p:ph type="sldNum" sz="quarter" idx="4294967295"/>
          </p:nvPr>
        </p:nvSpPr>
        <p:spPr bwMode="auto">
          <a:xfrm>
            <a:off x="628650" y="4767263"/>
            <a:ext cx="2057400" cy="27384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defTabSz="334566">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556022" indent="-213122" defTabSz="334566">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856060" indent="-170260" defTabSz="334566">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198960" indent="-170260" defTabSz="334566">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1541860" indent="-170260" defTabSz="334566">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1884760" indent="-170260" defTabSz="334566"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227660" indent="-170260" defTabSz="334566"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2570560" indent="-170260" defTabSz="334566"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2913460" indent="-170260" defTabSz="334566"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eaLnBrk="0" fontAlgn="base" hangingPunct="0">
              <a:spcBef>
                <a:spcPct val="0"/>
              </a:spcBef>
              <a:spcAft>
                <a:spcPct val="0"/>
              </a:spcAft>
              <a:buClrTx/>
              <a:buNone/>
            </a:pPr>
            <a:fld id="{B5D63F7C-A3B6-44A6-AFC6-9FDF0C0812F1}" type="slidenum">
              <a:rPr kumimoji="1" lang="en-US" altLang="en-US">
                <a:solidFill>
                  <a:srgbClr val="FFFFFF"/>
                </a:solidFill>
                <a:ea typeface="MS PGothic" panose="020B0600070205080204" pitchFamily="34" charset="-128"/>
                <a:cs typeface="Arial" panose="020B0604020202020204" pitchFamily="34" charset="0"/>
              </a:rPr>
              <a:pPr eaLnBrk="0" fontAlgn="base" hangingPunct="0">
                <a:spcBef>
                  <a:spcPct val="0"/>
                </a:spcBef>
                <a:spcAft>
                  <a:spcPct val="0"/>
                </a:spcAft>
                <a:buClrTx/>
                <a:buNone/>
              </a:pPr>
              <a:t>3</a:t>
            </a:fld>
            <a:endParaRPr kumimoji="1" lang="en-US" altLang="en-US">
              <a:solidFill>
                <a:srgbClr val="FFFFFF"/>
              </a:solidFill>
              <a:ea typeface="MS PGothic" panose="020B0600070205080204" pitchFamily="34" charset="-128"/>
              <a:cs typeface="Arial" panose="020B0604020202020204" pitchFamily="34" charset="0"/>
            </a:endParaRPr>
          </a:p>
        </p:txBody>
      </p:sp>
      <p:pic>
        <p:nvPicPr>
          <p:cNvPr id="1229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7604" y="2803922"/>
            <a:ext cx="1026319" cy="985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9" name="TextBox 1"/>
          <p:cNvSpPr txBox="1">
            <a:spLocks noChangeArrowheads="1"/>
          </p:cNvSpPr>
          <p:nvPr/>
        </p:nvSpPr>
        <p:spPr bwMode="auto">
          <a:xfrm>
            <a:off x="1834754" y="2713435"/>
            <a:ext cx="956847" cy="149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190" tIns="34097" rIns="68190" bIns="34097">
            <a:spAutoFit/>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685800" fontAlgn="base">
              <a:spcBef>
                <a:spcPct val="0"/>
              </a:spcBef>
              <a:spcAft>
                <a:spcPct val="0"/>
              </a:spcAft>
              <a:buClrTx/>
              <a:buNone/>
            </a:pPr>
            <a:r>
              <a:rPr kumimoji="1" lang="en-US" altLang="en-US" sz="525" b="1">
                <a:solidFill>
                  <a:srgbClr val="FFFFFF"/>
                </a:solidFill>
                <a:ea typeface="MS PGothic" panose="020B0600070205080204" pitchFamily="34" charset="-128"/>
                <a:cs typeface="Arial" panose="020B0604020202020204" pitchFamily="34" charset="0"/>
              </a:rPr>
              <a:t>World Population Growth</a:t>
            </a:r>
          </a:p>
        </p:txBody>
      </p:sp>
      <p:pic>
        <p:nvPicPr>
          <p:cNvPr id="1230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30341" y="2709863"/>
            <a:ext cx="98107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01"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06354" y="3482578"/>
            <a:ext cx="1056084" cy="1081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302" name="AutoShape 5" descr="data:image/png;base64,iVBORw0KGgoAAAANSUhEUgAAA8AAAAJYCAYAAACtlI8BAAAgAElEQVR4nOx9z28TWf7t/TNa6gWrlpjFkzJ6gpTj9EB/NZsWiogzi1mGNLPBdqCBiTqBFkPzY/OIehB2z4bYDhGZJdFItvR6kiJqqdVCCbEb8eKgluxsoqRZICQk2OYtqsq5dev++Hxu3apyQh3paqaJ69atgrjq3PP5nENIihQpUqRIkSJFihQpUqRIkSJFihQpUqRIkSJFihQpUqRIkSIidCvtW0mvgYfFXHlfNZJeY4oUKVKkSJEiRYoUKVKkOAToVNuXO9XN191qe78fSXBKgFOkSJEiRYoURwWNVmGq3sr/Vm9dOJP0WlKkSJHio0K3tjXSqbRfdqvt/d6obL5Pel0sUgKcIkWKFClSpDjsqLcunGk08y8arcJ+o1XYrzcLvyS9phQpUqT4aNCptp/4iK9/zCe9PhopAU6RIho0WoUpbyS9lhQpUqQ4ymi08kse8WVG+v0bIeyaNbJayxxPeh0pUqRIEN3K5oNuZfO9hPw6Y27zZNJr9ZAS4BQpzKHRLCzUW/nfeC9i7p+Xk15jihQp4sF2dWu8W9saSXodRxmNVqFcbxY+CMjvvlcKXW/lf0sVYT3Y1cx9u2b1/h2v1jLH7ar1xK5k3tnVzL4zrB36MylSpPgIsF3dGu/1+cLGs6TXnCJFCnOoNwu/yF7CeC9kSa85RYoU0YF+J+hUN193qu3LSa/pqEG02agYqSIMxErVGrer1o5dzeyvVDNrhLhkuEd6g2OlNngp6XWbwkrVGk96DSlS9CW6c5snA32+wLFd3eqLXyysAoz5/L9z/zq1OFquPR4tve39fLTUfJwr38Cs8d+5f51azJW+X8yVn3LO93QxV/r+37l/nTJ5rYtj5WPe2qVzjv4w4K3Nd53utS6OlpYe58raf9eLufLZxdFyjXvt7vyLo6VLi2PlY5h56XsaWHeu3FnMlZ8+zpVvYOclJPp70k9otPJLUOLrI8HNwod6M38+6fWnSJHCPLrV9jPec79Tab9MFWFzqDcLv6C/e1v535Jed79jtTI4vFLNrMmI7lEmwXbNGukR/5iuJa2+THFo0K2253WIL70jnPQ1EBIdAXYJkPAzj0dLbxdHfxiQrc0h0KUm5JweGZYRYfDaR38YoImbcG18Qi68XgzxX8yVz7pEFHrt+4u50veqed11I+ctP4UQ4ajvST+h3ircbbQKbzTUh5QEp0hxROH6f2wrnv/z3drWSD+1Qh1m6GxApq0ocoQhv3Y1s29XMu9WK4PDSV8HFk5pd8b2X4+1E8e5UwKcou/RrbRvgfp8IaOy+SDp64mCAD/OlW9ACZBoXdA5BOfnqovQa2VVS87axnXXtjhaaqr/TuSbB7rzh1m3asMi6nvSL6g38+c1y+6EJDjpa0qRIkV4dOc2T0qe98ud6uZrLwmiU2m/dN8j5hNe9qGHxPxK9J2b9gErsFoZHA5FgB0S/Crp68BAUdp9P+rzpwQ4Rd9iu7o1DtjZxRLgxGORoiDASPITKC9ZHC1dCjsvjwTD1lOuKa7/rIFrlpFUbeJPzb8UuPax8jFOqTOeBHOU4KjvSb9Ap9wuLclL8TGhPVHYZ0fSa4oL29Wtcd7mOF3t1a1tjXQr7Vvsz7uV9q0k137YAVaBm/kXSa/1MEDV5wsnwdbNpK9FhZXa4CW/mZdA0Y7Y6TolwCn6Du6uLrefJ+zoVNovky6DSpwA58pPffOPlY+ZmJenLoNJnvz6seXDghEsVzZ17Q6h9Ku1Roh1rry/OFquce5rZPekH6Db55uW5EWDVnHl0kbRtpNeR9LoR7LZj2uKE6LqsE5187Xn+9GtbY10q+3lfqwIO2yoN/PnNVpRUhMsAUBkEFkKnfQ1iWDXrBG7knkFvx7rSZTrUb17E9JrC1yi37mc6jy+r4pozse58g32HXnRETLoFraO16IGXxvj+ZMrdxZHyzWBcAJeW4oE0K22542VOzPKb7887CDEBPt5T9UFKbmM8gc8BjQ/+4WgS8yo49VKJ+LaA38XwOuBlEizvbWLkN5cd+3Scmb27yvie5IkGk6Gb6g+X8R4k/T19js2Ju2RjUn7VXPS3m9O2vutwsqRMFLTRT+STd6aNs/lpV4PRwVu/6/U+LLreIc8685tntyubo33TDT7oBrssAK7OVlv5WPp6TxMsGvWSOi+X7EKHNg0TxK9CCeda4kw5kn97g1ojWMECtG7ITu/698ifOdTrQ0isEDex3lrSxEzupX2LWSsUZjxLElHaAwBhH6e3u3RmF9J1MDrAXwZYNbHK48Oc684XwjSa+99DqYU+5R1SPkzdO2+z0V8T5KAlxkZE/FNVWAFnhdXj28Ubdsjvr1RtD/qF9nDQoC3Ji4oHfoPOxT9v9vdanu5O7d5srehTvX/Or4iaQm0LhqtQhn9XdssLCS97n5AKDKIGFGXD0NhVzP3QyncEfY1y96dUB4rVFsh9x2LY/Dqqspa78VS8swOBTdQmc+miBDd2taIbqwRYGwrSPV8EteM+Ycey+cBrs+I+Z9i1yI736JJcp4r8wi6tJQYeS3oa4d+nvlcpPckbjSahYUoyp2d7N/CXVkfcapMBLFRtO9vTNrvAuTXHRtFO3Jzkn4Ej2jKyPDWxIVT7XP5pc1zhbc9ZXYi39k8l6+1zxeEDu/Y42QEuH0uv+T/Wb7v+/6hEL03dKrtXtlkl9NK1aluvu5U2nP9EovYj3DKnPNL/uEvY6638juNlmMqCPo+Ts0Hw5PBg2Gv1jLHV2uZ4+L5oi0fVmGlNnjJizUKN6K7DtS7p9viJqiqeyqbkze/QCA5S4iY4PbOwSPPY+VjThym+P0O896YImJwe3LMjGW6z7ffSLBJYtRvn+f0OCjnVnwJmb4WFEmNcm7M/BH//frWHScazfyLKIgv+7LWkJRV11sXziR1/f2EVnHlUrNo74iIb48AT9rvnhdX+0JdiBMYArw1URhXfXZrohAgYDrHSQkw+7Nz+UOdFeqhU21fFrU6eZ9xy58FpdHt/+dVgyXtCdJPcImu5Lsyv+PFyDWcdpUyIfCS6Horv5zsFSaDlao1boYMZgI9vk5+rv/ndgwOyiKEzTP2X4tVizLaCfPuqTiuI5sT+m6LWFtAuBEeR7XQYd4bU0SEbkR9vqLAe0ifUJzXHwGB6avPY+fGfkmEOR+WoEd9X1WlM3GsIynzA09BMDjeiEqaFS9oH3UZ9MakPdKcXFlTEV9GBU5UXUgCUAK8NXHhFOSzbKmy7nGin3PJtER5Dos4N5OFm9qUz0dXnCDxzPf+kUYjoapweEpuo1lYgG9QfjwbjkbJIEMM6fPYvRxdv1q6UhuMdcMrutJua2elahl/T8e8e+oe577nNVmTVJ33tih+xltbigjQqbYvR9Hn26luvu5U25dF51SR7U6l/TLO+xAFkeqnz2PndsfTRbf84zBfC/N5mFMzJ5ZKhqjvSRyIRvkNvlg1QKZa+UCE1ceCjaL9BEN8GSU4MnOSfgWkB3jzXL7GM6XaPJcf4CiyS2GPE6jEN9oT+aboGNPoOkZTPuflqM/FGdu9zzCxR36S3J5L+h2gX6DrvcCLkVN/z4qPPYqIus+X7vFdrWWO00opXX4cBwm2TZR2VzLvVmqDl5weaUEklOGIJ9m7kPDPeWXGkuOcd7wgwdR5b5OeA/B+B11bCoPozm2ejKTPV7Jzi45S4ijHUSFpUhcnQQISQOGLGfYX3fS19z4HzEn2zY0zOXjKs61P4p5EjXqrcNc0+XWViV985wFmCH8sL2Q0VH2+sLGylvR1xA0IAQ4QT+ozQYJbeBv+uOCaeGSaV3JtAjwzqijjBkUb2jTxlmx6z3OVYcoQq1ttL8f5PpAU6s38+TDeC/VW4S49n7vZCD3+yMYi2RXrptFYI8FYqWYC379cZ+kIY5Gc8msjpd2Bkm3xdZtTgjHvQoujPwzIDEixc+q8m8p+BnqPTfjd76ODqvw4xBD2knT1Sqzn47onpkla3J83fa2LHOUXeXxkZG8xmNMGnhvlIugONkqpH+9JWECVAj0S7Ji3YF7sPiYC3CqsjEP6fKGjVVw5Ej2lUMAIsPgzcf2MNtBiCbNpyDa3aUMqE+iKfUOeUZ/hK8SVzfdcsl7dfN27Fv/7ypHtV623LpwxYDwYiJFDVPYcuQg6g2QwoIwK/sxHGl3lFEwww2C1ljluqLTb5rlVy9Vzy5hxJeRdyH2PU1bzYeaEfA57DpNrS2EIpglwp9J+KSqxClliPR/XPcESkn77vOlrlSmfSZE9V/GFlTBL5oY4bHNG59+5f53irSvJe2ICDkENpfJ+wPSbwcbRL4H+Nb86jO3zVY6ivfOx5QIfFgLMU4SjuB8yoykf8aR6cyM5l6s2S6ORKu1bgveReUIExlqVzfdH0S1a5r9QbxY+1JuFX1QEmbdxWG9dOPOxfe8aJINCkmtXMq8oAviEJo10ibOMOJqKRbIrVs3Atb3i5ftCNxFMGWNJyaJT6hx8BxRU9kHmhJ5buTbd99oE3/0+WpgwvOpUN1+LcvsMlVjPx3U/sISk3z4f5bXqHG+K7P07969TkIxdzNyLoz8MQPKA+aP0fdL3xDRcl9HQRLXeyi8bJMFH2gRrY9KumSS+G5P2uzQK6ZAR4ImCsMomDJAbztvqGSXnEj/j51Wf8Xp8ee8i3rGC95RQa+5HNBQZvp6XgqRV5Q1b/uyfH/YdfxRikYyQQb7K6SO5ds0aYUkj7SztI8Hi8ms7/PWa6fNl50VnIxvqBZa9CwXEC8osSnoc8P1K5708yp+liAhSQwrI7rGEnBpTmA3sUEOBJST99vkor1XneBNkTyeUHHMtmkrwPo8Ex3VPooAOAXbyfIMGV6ayg4+qK+lG0b4Zvs836P78MUYgeTisBHhroqBsrcCiW9l8gNrEDmE0JXyHAMcebY0L5lgmhJ8X3K1svj+KvcCqMmXRZ53vW5hqi3CU/kU9W/9hpTZ4KYo+35VqZo2njNLgOktTfb62yECqmtlXza1CKMLPOFf71ou/l0Y2YFFkkTKLQh0neufUeC+P8mcpIkRXHEkgG8KMvm5l84GxKCXqIRoHsISk3z4f5bWaPl65vrHyMZBCq2GCxeJxrnxDh5xC7PMPy5cakgC/aUjMUkyUQh/F/t+NSXvEZJ+vZ3h12F2f954/OLO3Vv5l7/kD7Q2Pw0qA2xP5JjEM9POXIZOyjW0WQvWXqgqTqNFiklvbGhEReTZZwi2Rnu9W2rcOc3aw2vWZrrRxSpqxRFWlMvtJsJMrfBjQU2LNK747ELdmBQHtkUJxGXH4/lksWV2pZtZ45dehspFDEnkPGLKoe5zofYz3Oa/1TeQfE/b8h+ld8UgB1Ct0MLZFfTfb1a3xCKKU5uO8F/1GaE1/PszcYe8VFou50veyuR+Plt7Kyl6wa1kcKx9bRJhqOcOvAkd9T6IEhAB7fb6Q+cJmCR+mly8VnhdXj28Ubdt4n+8RMbraWy+/2Fsv7++ulT7sroud52U4LASYNcHirTMMumIzKtHwGUp5lVuY2CR205tWlIVqtGd8JXGq5hF52rxLFKXYqbRfHkaFWEWAnR7g8N+L0O/mw7AJ6RpM2eaJL0zNhDpLe0TTIZdCJfZmmHvhRCzBSD2PqIbORjboao0hi7rHid7HdKoOqXMEepMl5+9g15YiAnB3YNmHlaTPV3m83ojd6TFpghr158PMHfu9UpUmUxm9Ya+FOe8lRG/w0zjvSZRQKQP1Vn5HVpJcb+WX6d6xBi56gx2B3l8qGuRQxXRsFO37ZhVfe/8o9fnurZen9tbL+/TYXSu92V0vC3sZeTgsBLh9Lr8UIMWG+oC7ta0R1DOWqbAKG5vkkW9o7JF7TMAZulNtX+YpyzSxhpl88d9ZkoL7nRiqcqbeLHxwfRammFF2NjHd4czFPRfquxm44ZkUIur15Tog+86Ld5bu9fkKSaYBAilVwSuZdyKSbSIbGVImDoXsXYjzs7OEEK0cYN65/5371ynJOxnXgLV3Dh55Hv1hgDvnaLmGXduRwuxCbni29pfE+7akDo0SFZb38Ao9JGQ7akRO6hL+fJi5++5eUQ7VJucmxFWDgb3Bcd6TKKFyCRWR30azsED3ldVb+eWDn4GjN6Dkd7/eyhuLWogSreLKpQj6fO2j0OdLlzrvrpV3WAJMEeHffl8vgRSvw0KANycKZ4MqcJ5rqocF2nCS8dcwHZsk8gHxxxv5q8YcU82gakwfQwiizDthEtxo5Zd4iqv7Z77vOpxTM6aaJlgmDc5ibxY+1FuFu94GZz9W5hjr+RU4INMI5Sztzi2ORbJ2wjpCO8ScOzf399fW6/M1sokgg+xdCOvbApkzcP7RHwYWR0tLlBjS8aIwZfMoyDPqHVb33h0azC6Mrd17lHs3+yiX+I4+S2ZlO7/dSvuWsT5fxG6zS9Tno7oH/UZ4TH8+zNz9dq+imrv3GcFuYpJ/v1GjIc8BnmI+OyUqpTtwK0W/0EnJr+xz/YKNSXtkY9J+Zdjd+dVh7/OlsbtW+rC7Vt7ZXS8ti8ivb6yVlX2OEAIsKz8OEtV8J+xxvDVtTVw4FVSBw/cBc6OCZM9ahlBGEZskaonyengFa+aXcFMlzRKDze2AoZZbah32/mIBdcNnySmUmKJJMLNxqJs3HEdZ9IkTU59YQzNXrKHpmjU0XbOy03+TfR5e+itWRkF9vjITKyDB7s1FK9ec7OAwsKmS8JVqZo0XTWQuG9l64hqPBZXnSuadbiyS7F1I4tnCbWGDzGlqbe76xlXvdY9z5XHMnEcOs49GL80ujO33xqOxndlHo4n2dHWqm69lvT/uQ3LbOPGtbr5mjS1YdKvt+R7pjmhXt98IzyIi5Fs5/2ipGWYtLCBlwlHeq6jmDjNv1Pckaij6gN/UW4W7jWZhQdVDRr8kgXqLW/kdnrIgIL99GdPh9vk+MUx8320U7ZtJX5tJ7K6XlkCkN6AGl6XKP7/fNu8zqducyD/lfWbzXH6A8+e1sMdJCPAl033AWP8N3jMekdywDV2XtD+YbZ2qbL7nXgf1vJeWede2RrjVbDEmSdRbhbtYYklXzUSlAvNIsG70nSxqKSwGMzPfZbIz++ywsjM/Dw5OfSY6TtsAS+CATMOoszRVguzMyVdmw2C1ljluVzKvVqpW4HfcYDayT+FdrQwOizYXdJRg5btWrjzuKcGOH4xTTiw7Dvp+xX9/7vnNnFW9WxPiVRGWa/Q7vLPO0pJnqIW53iOH2UdjOz4C7I57j8ZuJrUmoeLrPFSw5hrQMS9dU6V9K/BQjMgd2jRJM/B5pSkTYv5Q/aqce2VybfuPR0tvMZ+P6u+hj/6+AvckDpiKMGpQirF8Tn58h4j8qo5LAhtF+77xcudJW/pi9mt+dfiwqcJ7zx+c0SG/7pD2fm9O5DvcnluKYG5NFMZln2GJqje37nFCAny+cCz45wWQ4RQPXWQrkiz2qFvbGlGVUuvEJvXeHyglF7hev0mXKE/YLdEWkHiUn0i9deFMo5l/gXVYDqne9v59h8tkVw3/92ZDXvUjGm8w9wWCwcGpzzLZ6Q6P/NIkWHS8uPSXP0QOyIE5TTtLGzSKwsJIv7SgTNyWquPmSX6UQJtgUX40KQCYfZS7zye/ucR+OUTwKa9mhzBKiRDQg3je9LXGQGiRn5c7IS/myr0+AnXJrlnHYnd3C3S867CsOh+KoIf8exATVUxvMauqR3xP4oDBl683B3MGDbZEGcKEQMivN0eyOcGt4sqlKGKNRH2+bn5woLx6Y9J+dRiUYs/tGa/+lpRll1sThRsqAkwIIZvn8jU1iQ2SUZ3jpOtgCDutHGMgckuWDua56x7PukFfFqrKHIdl7PMYmFXsU5plZd6dSvul5OfgtXG+/0CmewZKl32kMqyLvvA7k6meaeDNCt80DLegnDgx9YmK/HpjMDPznWgeG+QGzXdAphGts7S1o1sWrAuoU7WKuPPKxKH3Ks7rDYvF0R8G4EaoJSP+DR8NZmt/OX7vUe5dv6m/LLjKq5khjFLqnRuqNhvu7ek/AswptwiQMK/0Q0GWKWKnsxbOvQKszdkZAxF5ZhcN+nlIv0XgvsqIqrdmSL7wqD+yJep7EhfMqcB0bmUv4kOaIUwIQpVo5l9Efzf4aE6urBklvkV7h6fookqrBXP0C8A9v+wA5gM7JDjfVPUDb00Uxtvn8kt0b+/mRL6zeS5foxVczvyo4zBEnO4dxgD8rGSUUu7xDhGeZ37u2wDnmWF1XQU6THRSYHB6d3XfR1TtVYT0NukC3zuQnldTm4Z0KTQhEZJg5jxws8Joqm5EZc9CEiwohRabS2XAfbZ2VKZQhvt8IfBKocOvnV8mjrpXhtyh44IjUJS+X+SLJU8Xc6Xv2XfqFADcW8jZXPK7kHulPjoedCNzd5b34rAPW8B4ZvK6+40AEwLrK1UTqXLgCywsAXbnUPYoQwav1Bfr9If8e1ATVci6GSODqO9JXKi3CndNqw2NVmEKEqmBfelLypV0Y9KuGezz5b4Y6UYo9XM+8N56uYwivwADrI8VIOMq5hlMHy/qp+V5cnSr7WVe65Gp6CR2sERa+E7ivFcI3xlYsy8WDcfMT5q/K1M8ZT27zkZifgkwv/D7rNEqlE0TYZ6Hguwc9WbhlyirbUTqr5Wd+Y+V/eZLliArVGBOKa66BNcx0jJhCsUvAQ7r7qyLMP2+ojJxLQOtQ0aAU0SAewtnR3jk1yHAZ/vmH4hWWRVi15mFtNxKMaA7zhD0IwEOS9ZERMoIAQY6JQNGIAcTpJBqEmBn7aEJNlexifKexAlTbqSYPjo8+cX16JlG2L7fjaLN/V40UVrdryR4d630Bln+/GF3vdQ3/d79BHzskd88EtLrSxNZHqk1EZ3EaXeaD3xG8D6yXd0al3qUSAwzocqtzHRP+j1JbfhBv9tkirNLttn8X/9gYukwpL7eLPzSi5trFj6YJr6Dg1OfWUPTNZbAqkqdT2ZnPvf/fFpaLeGRM5EDMo3VyuCwIVMoLoGUET+I83RYYHujXcLOLRMPY6AVd9l3ij7EvYXcK4H62wvJnn2UG599lLs/+2j0UpIZwcIdVwzxBcQaoR/iyB1eDPqRABMC6y0VkV/PvS7stYrwOFceD6NS81RUQsA9svtQwwLB/Fpqrey+RnlP4kZY5aHeyv8GVWg1zpV4FFKruHJJt8/31/xq4IVgY9IeMVVavTFpv+OdI0nsrZcXdE2wdtdLKCOjo45A3I96gPtpoUTWdHSSsxEePJdkrc8IOSDm29Wtcfp9AqL+wr9vRGZ9YrJJb9Ah3Z1R323BkubCgu71RAUrO/03Xhmz0/8rLnNmj/OG7FwrVWuc54DMwq5aTyJRfBWxSitVa7xH0uMgwdDrrGTe0S7VvjlCGWhZUgf/FB8BArFH9Kj95fjsQm5Y0Bu8NruQS+RFRr/nRt0LhIhcAOxsm4k56FcCTIgWqXoqI2mmCDAhPTKpdEBmRodnB89es4L8NsNei4bSLL2vUd6TQqF5rHCxNV6YbN7IX2xdKhSakfegaCrBbzBRGRjy675wJk5+PaAyf4v2Tquwwv1eNB2h5JLgvmmrIcTJ/9U0wfoQmOcjL40OG3tkJjYJPoeOc7SHrmgz3iW+3Wr7GU20Pf8SSHUYqjyZo4ZijjGhOPvO7VN7/YRWdV1x5Pl64PX4WkPTNUIIOTF0bUBEcGW9wWHWY0fV5+sMYZ8vV22OwRXa7QVWXC+/TDx0BFSILOAURwgi4yvHEVpIfqnPxZ8RjNkl7u32KmONFOYXegTYSCxSPxNgD07+WbkmKOF9upgrfa8ilqbWEphzrHzMNY96ushXV5+6aja4vLdnRkBf72ip+ThXvmHyWhZHS5cWR0tLYe9rFPekUGgey0+2aoWLrX3OiFwtbggMYnjEV0O9QJHfpHp+RXBU23B9vqYjlPqxFFrbAMtRf3sv93tr5V8+9vJoISEUj2dhjueRV6CLM/WMFpciK6+Xf655QoIqNMaIixCkMsuY7kGOZYkmnGznhRUPDUe59n0f15uFDzTZVvs4xKMAixRcp8f3my9lBFjkDi2LQ5KBVl4jGLasz1ehoEZujmULYopEZeJGIqBS8puCEHXskSgTuC9IMLxEWVqitl3dGo/CVbpT3Xwd5uGaIkU/o3CxNV642HorIL/7hYut/QuTTTQx10G9Vbjr9IXlf6u38jvOS1f+N+fP4Ipvby4M+W3ld3jkt7emBMnxRtG2ZX2+vFijjUl7xHyEEl91TuKe0Ph9vXQeG3vk9QrvrpXeqObZXSu92V0vo/79HVbwTKeUm9JMH2/Y2CRCxD25grHNHh/2mj2SK3ynQCRE1Fv5ZTAJZhzsgf22U9S5EN95fsW53rpwRqbs0mQbQM5B8U5hYWVn/iMmwNN/C/b3+hXeIIGe7ohcoEUI07sKIHncXFwP0AiiOEyy/OTf2uGViRuMgLJ5a0jxkcEpbxYT2tmFsZrIFZpbNh1zX7DIKZLeHeblAvaOdx5ez0wTX4janCLFYYZLfoXE1xv5iy2tCJU4UW9dONNoFhbgkRt+8uuf64D0ytSWuPC8uHqcV34siiSSEWa9sbImmzNpFXh3rfSbTuzR7nppiSa2qnl210q/QSOTDis0nqXzzPGo2CTeMxY7hwmjykDLVGXzvWRDPbBmFaDRb4HvIliLyBtC8Jm7OuqxtxkpdXWO8XuSS3yHpmuYHl8rO/Oz5wqNJb/helfl6qaoX5YQLafkyAnjStUal8UxiVRi3FDnLKf4iOD08HIJ8JqUHLt9v5yf1Qhx84Rjco7mPfB4UQmc48zHKTnjmekM4BQp+gluv+9bhuh+L1SDJ5s31LPGC/dFbJkt10O9BLpGMvVm/ny9lV9WvahilWhT8CKLNibtdyLCuTFpj5gtd15Zo0m2qB95o2gnthu/u16+q1vurDvPUTXMwsYesSZQYWOTCFFviPOe1aauHy831h0AACAASURBVFKNpmuKCTOOcgfl7gwhtU7FzIUzmt+DUwfnCp83HHelDKsAW9npvzE//5kXf0R/5mR25nMrO/1XnfNHQoAFubiEhFSbYyCOPKXZSASUgFg7pNuqrVQza859sZ7EYfwlQ8OJPttp9JGXyJGEKvZIQo4dkstXh9fon91byNlxqMK9kidQn2/7lvE+X2dsi3aTvSglSOh9ihT9gsLF1tn8ZKvJ/nn+YusST+XNf90aEKrBMZhiyRBG5RWRX/fFFPPi+Ea90miwUbRvin6m7xjNL2vmqcsyB+lIL1wCTOwRa3alP0858bLvKNCttrdxBBYXe6Q6Hj0HU35t6B6IN9Urm+9l1WgqgKOKGJMqSVnyG4/AhvhO9H2faZLoRMgvIUEjK4/IWtlvvhTl/2aGprkKpUOEZ362st98iVmDKcMrUS5u7zyhFdR43ZLtmjVipjTcb6DlllHLjcYUCnoUcN5PDn4PoWZzKTQh6u2992jsyeyj3Li0L1igDnuRSbRp1r1HuXezj3KRNtK7RhTL0lijYJ6fmVHZfC/q82WjlEzGIqVIERXyX7cG8hdbT1kF1yOxvp8xhlciQ6z8xdbTuK/DhMprfsQb8aHCr/nV4ah7elVl1UlEIu2ul5aQhlfcHXnsPL+vl84T0usZntpbL08d9tJorOkUa1wVNjaJEA1TzIhalLzcX68E2t34BmUOy9BAlCjTJlXscfVm4YNPJeaoy56HAuh8SMVZRKTDkt97C2dHsFWHIpMr2WAJrpcfDM0BZmFXrJtRlvWGdkr2q8s3MdemA4egho+A4hloKYmvgjxHhUYrv8T/feuvd4Ujg3uPxm6KCO5s7S/HJeT4JiGS0ulHo5d4vcH3Ho3F8g9JBOnObLgxLzqnJEpJeEyKFEnDLWXmEliPxAo+85YQRzVOyhDLtMobxei3nV1UVBJg0CXWG0X7JqSsWtSPHCUwsUe7ayVuX+Le8wdnUPOsl5Z210tLvGMOc2k0tqKKrZQKezwhyNijQ7oRjfle80UcucfR2b+ESAlrWTcWCVWu3ZI7SqswW/vL8XuPxp7430HHdmYf5cB93X7yqiK//vJnURQSW0qtgpajsaRflhBDTsmcc2KuSxfhCHvQQCvcJkB0JLgBSLDgxZulCAlp7JHAFXr20dgOIYSo1OF7C7lXvJJq6ti1uPqDCdEorQLuYIvUZmWUkqFYpBQpooAk0qin9F6YbJ4S/OxsfrLVTMoQC5ObmTAJ7ouc2FZhZdys4ZXdyxPGEOu4CTAdVwQcXFdazDy7a6UPMrLsKcOHDZKNXtHwER6NzelA3y56DqZiy4QRVhzAxCKxrstcl3qByuv9XPVyLvo+g5BgxxBL/+U+QHw1U0kGB6c+E5Y7C8ivlZ3+q+qYEyemPoFei2NKZYaUGXRK5quqcThC66jinA0BU5sAPEfqMGg4fb6gd5V+eVc4MhA5O3sEV0SOD0isWB2eXcgNc8qiXxHi7dbRpdHRq8Jdww7Pshw/ZJTSod3t/xgAye7VySI+DOAZXNEEtnCxdZYQfxl0/mLraaHQPCZSj5k5IjOZQOVmJj9iifqQQdvxWYPk9ksJtFt2DCe/a2XuCwh6Ho1z9Dt0Yo/CHs9uPGOjk+jy625ta4Q69lCYVyLNpoTfMTI1+eBchTJ8U89PsN1YpGU3lu43L5KuEdLcZ3YhNywUcARmrSo4Pb8S8js0c4UQp2SaZ4xlRAUGkFZRLi41B7LEF0EuY+6JxRlfWU9oYm6qjJq+flPXBXRm98absL8vKRgIc30f5ca50UZUb69KHebuyrk7cXxl2CHHUUCjr0j+4K1sPuCeRzdKKYQhRopo8VETYKeEWUiAvc9dmGyeogkxJxZJVAr9Nsr1I3Mzkxpv6N65pIDN+t2YtN9tFO3eLvvGpD0SlvxuTNqxlNV5wMQe7a6VPoj6c9HxSZJzxHn9JqFRXTVPH6/x3Jxn19DFRie5z12G/ErP0W8A9+cKTPcail5dWpkFK1UxxBexIoqv7JlPgtegcw8OTn3GktvBzMx3J05MfXLixNQn0FJpKzvznxND1waw1+YqtyKCtyNzJzbilAwfdhyO0CBVnJNzHNkmgKTcHAJxny+7kVT44G4c0e8xoXvkU1C492jsJvNF4rg3iwiu6+SsVIcFZdFi1dkhx07fMbxvA4Iu1pVSqPqKDSy6IXqLWSOQFP2Dj5kAS8qbhQouqxpTvcI8s6z9/GRLGNVgAogXxNhGvZX/rdEsLPTTgwxFVIv2k+fF1UD520bRfhKKABft2Pwh9tbLZRQ5FcQeYefROUe/I+7YI17fLjo6ya28Um6OS4wt+wENhDLLM9JR9xIfHFNv5s/Dv+OijXmTCSyzIl8aZArJ4ODUZzSBFWUBB8d0h45DsrLffMn2DKtgs07Nij7f1crgsBmnZAG5lJPqSI1tCSFEeG2VzDt2Q0Aj2zgWFbjeKtxtIFoJvM0n9neczfhOYQAHXyhuri+PALsOzpKeizX350FjLaenWNozTIhPHV4zFZsUmvhW2i9FKq2xKKU+fsh+zPgYCLBLWscLk80b+YutS3RMUX6ytSTp5Q0ouJy+4bfUOfhE+usWepccCtwLYmG/0cy/iMAt+o3zQEsm+xcCoEL7Staj+7y4ejxMfjCPVEcFZOyRMLIKY3ylew5C/E7R5u9GOGBMp9yNZF8EIHqD2kDsESG4yjDZO0DSQPQQBioMIMf4VGB42aaxmDeeqzNP6fVa6Xjtd7Q4gwVPEVaVSBPSK5P+D1UKjcoIPiBx/rJezufMlfj6hv+8SZJggSoeOKeRe0GRamEPMqIMvN7Mn8dUTzSodgXR71s/bZ4fSXAdnN0vImGfhUtYuV9OC2dHJP0aNUKExDq0QqRNfCV5ve6OM+7BjdzVjguPc+XxxdFybTFXfsohd08Xc6XvF3Pls2HPs5grn5Wcp7OYKz99nCvfWBz9IRQhWhwtXVocLS0tjpaa3OsZLdce58qgKoMoCLDJ9YVBodA8JjG68p1fqOBebH3vm5M3lxudlFQskio3s97K7zSahQW3b3jKiGrczL/AqryNBHt8ZD28brnzTcmxve/ojaJ9X1P9jVxF8ICNK9pdL3M3LjTik1Dn+H29dH5vrfwL1yl6rbyzu15aTjo2qYusfArGHoWLTXLmQLc4zWMNu/q5SquBiUVijHRAL+bN/IuDz2O8FcJFt8zW/nL83kLOplvrej9TqLzcd0kNQeXEialPQMZYQ9M1z+zqxImpTzJD0/d5yjDm3HbNGpGVGNsRlfiK+ovtilWTHhtxObR9oIrbvA0BQ07XvueQqBx9pZoBldRD27Dcd47e8995d5C+h/TdRuiRA9ure+9R7p3MNZoQvjP0vUdjT3h9v/QXkyiOKREC7Ci689y53Gw/U8SXHnE7UC6Oli49Hi29hZI8l6SiifDjXHkceZ79xVz56b9z/0JF5bhEHXyOx6Olt49z5Rv8uVBrBRFik+tTQWUw5fbpcvt7eVFF+a9bA8LPMooxTykuFJrHRCXVUTtCC14Q3zRa+SVfRAhWLWZV3lZ+WUflZUqjEiHBsvJlkepLRxvRJBjdTywofd4o2jYdpWQC6LgiSeyRMfLLOQeKXK+Vf0mKCKOrn1jjKuzxHBUWG3uk8fzue6NKjKEOvSkHjSqiv9fg34fhKl565PfgPfJm72fi90WnCpEVapxIpPtYFVhV9mxlZ37GlEkPZma+C3NPCCFkpWqNR1PiG4wN8p1TQbahpDAMRCTbAPkNkOrVyuCwbF7VWuEmdQcbRe67irL6LI1EiglS4tpTdw8MrNgvrV45s+jYR2NPxCUrZoyxujiDDaEDZLfanjdS7ow4Z1QQqLCwMVoGb0osjpaWwpHJ0vfqsxAiUFOB11Nqcu6PUQJsen0i5C+2LlHElrtZwTGpAkUVQRRckeFV/mKr4xpl+Ymxqw5HDbe0eafeyi8LYkAwjoy+h5fuw4hXGpVUNnCruHIJWpq8MWmP8Eiu9znZXBDy+2t+dbinSBdto/1O2NgjUSTR3nr5hSkCzJJXjWgmV0WOt4cYSyRZD42wsUnuGpCxR+jnd9+TX0K8eCNY5QprUoUx5FG9nDtzhVN+PbBiC90qx/u5J8IQIvGwWcCljogJLbfPF1QmrXs/VmuZ45H0+Ur6i7FRSjJn6qiAWR/n2gPmWYQA1G4AASZEHh/mOKI77w6uUzq0TPpQfCcdGci/THLven3Dtb8cV5FljnI8zu/nyL2jS1bckpa12YWxNUdRhu/kgUqkKpvvReXO3Ur7FrbPCbobnUTuYCgyhiDBoUg24lxGridX9pXhmiTAUayPBeXELFVWedFGbmQRXw1mCKpENe6RbVG5dI8IT7Zq+cnWEq0cJwl98quv1spLo8y8QGIh6t/1en+drOCVNTGhXekpAPLPOWXVPHXXjVR6x5BkI+XRaNXWYOzR7npp2T1uane9tOz1IO+ul3wvM2HLqkWKtWl0a1sjWOLpOz5kbJLWHPghfdHs1rZGtqtb4/2SHYyJRfIruqg4Je8lfIclziZzSoUpJBR5pVTgnl+M+w4qFFzo907IOk4MXRsIkNih6fv0z8Gu0EPTtcHBqc/o+a2hmSsQgywIIdNUfYWbAbZeiXVsrSyEuCqtLunn9PGu1AYvQa8Zsr6GpKrM+wymTLqffUSONNwvllpPEXZLSnyfETk8s6UolMIrUIx9X1ASFRpslKUksJzSqu3q1rhGvANsF1oQpRQ1wiuyB0NWnrs4Wrpk6jzu4KqZi7nyWYPXM07Na4QAR7U+FkKjKobAugpxgCRDS5wLk80bKrVYNhfbM5w0VP3BpskvoLcnsRKnsC7OdLn0r/nVYRlRFrhIc/uHNybtdyYMslwSCiWSQiV+d628gyO//B7ivfVymflvI3nCu2vlWFxCu5XNB2BFlXnehY1NIkQrOgnxjOabUrrEf1lw3dudavtJkhnCKoWWGm80j+upV175NGvcYwKSOKN9OtM3YI4likfiCCzQtbAElxCnz3cwM/MdMA7p55PZmc99c2a/+ZLuLbay33wpW4NpArxSzayJyolDlljHSoBt1i0bRH6tgKBi16wRbBk1dI2esltvFj40moUFz3mdt4mEUX0brcKU+/6S5gP3A1RfPBxjAtFOXe8fqJAg00oxYDdPFZNA7+JG2ecri1LqnT8iR+jF0R8GTJLSx6MlYY6rRs+v1rlcUy1T5+mprMYIcETrYyGJLHrr69Hlq7PjhMBNqjilzAGyzSuzjtrsCos4yW8D2NvTG5TxTFwI6+LMliwHCHXR3pH0E9s6fcIYYIirJPZoAav8wtdnxlE6ThJMiLoUuk9ij8KTX1y59XISRNj1EwB+j/l6D1H+B94LeRQv35KUEV+frwi9ikWHREvb76Brokkw7ewMiEP6Gz0P6wyNMcgyY3glzhE2VGIdKwHGrHelmlkL9PkiS7ypYUPX6BLV3nMAWursbS6xm+H11oUzdHxZUm1TKSiISlZ8ZJcppeYRZn8/scRxWrIrKIKiFHq7U21fjoz4VtovVQ/ETrV9uadUR0CCH+fKN0BEa7R0CfH5gDK7CFU93fNA1WKeAroILLP21OrHufI4hmRjCW/c66MhMKDyZe265c4BkkyIuH+3wBhiScn2xdZZjwgXLrbO5idbNVc1Du0ibgr1Zv58CKdn1AsfpreHM2J3etR1cWbI6s3efJP2O9dFmvti5Ov3BarLuoASTFOxR6poI9+8CHXaU6h1SXwU6Na2RkSqLlsiHDY2iRCN6KTw5Ff3vWA+olsuBCYWyRdxhHoxj6ZCBUB+QSXMXiYwIeJYpNmFMZQzNDwH2DG78lyhCZE5Q9NKsZ8ss1ipDV7SJqaKHGFjCjMiHsgEYATY2uH2+eqoxx6ZFmwiQAD8PXvDe/43Wvkl/rtLMm1TKVzIzLK8chO1Qszt+w2UUAt+BnKg265ujUfRzyt+eIujlDxwXx44PU9hASVjvc+PlY9BiRsNKNFm1gYhzIFfch2CiiGyBghwpOujwevvZQmshLyeleT9Bg2xJH2+/VjqTIPePY2S/Or01rEPwajugQxQQirr7/XmahVWhC+qvH5fxbyhTBH34MZV3L9nLEndA2b2YnuTaXVXlmcsK+OOCr5NXGc8o3+OVFEFsUe46CQY8d18L8r5xa4Zcg1Rot7MnwcTWTYWCbYxqKX6umkfT+j3QLeC78C8CtK/S70HSs/3aPRSz59G4GODUYFVBLYXh0S5QhOCIc4gFVjH7ZgbG+TMZ900FqVUyYDLyk0BQNwDpN/ZSAjhol3JhHoOyZzXvTLpwDFOhYbcgC51hk4Os49y97mKrmuSBVCIA7t6XFLt7uzxvigx63XV3vnodpLFUUrMOmROmMrjMYCaMfmOUX8+UNaKJdrA84jO9dET4PzF1qX8xdZTd3DLk+nyY5q85i+2nhYKzWMCZZido7fr6ZJt6edNm1xd/5/Ln357+vKfw87TQORm6uywNlqFspEs4VZhn/cwjBquKhuqFFplXKWrNIeJRdpdL9+FlS0He3bxJBVuRrW7VvoNMzftTA04NvZ/P4RQiQlhY484VVPGkxgk5NdgqfV2mHuJPQZp7Dd1cJy0OoarSkEwq/CH8Yjo7EJuOECKRf3AjAfNwblyw9T7YU8YEb2fQq/ByQSWlTv7+3gxztDQeCS7Zo1giJowNqhmjUQQpRRr+TMhXr8yfz2sI7Vds0ZCl3hXMu9MOF3z2q94JnINp3w6dYc+LAgosxLCyoxAYzr3mEe5cVFpNGadUfb5dgHRCWADEYN9RKbJ2GKuzI8QioZoGyOoR4UA579uDQj7cfljnBCfY/RZQrj9uqJSaF8JttAQa7LVpEumTeD66StfX//i6utrp68aUVNwuZkwd9PGgSlFeOJL7QibuF4stElw0d5RkVRVv2+UfcCQiKHdtdIHlgRjSSo0lxdKyqmy5t6zBULK43KFhgD7vOX5ZWhEJymHzMXZMNlGk+Cuqz7rJEboxiIR4pr1tfK/uUMr39wDJEpTRmhF73tsxSAhoqpBR1gRijAhy6C5fb4hnKFVsFU9q5XMO1mfr/J4rSF2k44afAXb6lUIONdsPTFwjTsy8ivKUBbBUXXzS87vWlC9RW1iOVVtsbdMpeCA2oGrUf8t3v0T5P3yvrDuLeTs2dpfjnPMsVAh3FGQ306l/VL1kNIowX4mmw+DSAhwDKTUxLkWR38YgBxj4lriWh+3DHmyeUNETFkCS0iwbNpTikUlznQ/Mfs5l1QbjQSZ+eLq2LXTV19e/+Lqvjdmvrg6ZmJuYP6lkvyyphRGCTDHBCMuIPtzhX2+OvOxc4dRfllAS5k9pXUP6c6M6b2VlTCrSpqBZF7ezyyIejKNsLFJhOhFJ6lJdtBgywOabMPI8jz4nnGuF+Il4gHZghGJk6yg9FgihvC9XERmqIJYJGG5NE9Nxl5TT9Udmr5P9/kSQgjUGbqnGg/NXGHnUMElsWgV1g7R86pDtuOChNzaZohvhusc3Ts/paabuBfiPl/Q+8JOvZnnZtenSAgyYwPeLh4Nbkawa31/b+HsyMHP1SZYLEzt7naqm69VplXduc2TupFKpnIGjyIBBrtNc5TqqO5ZHOuTlCA7js6iHl02Fino/PxWMf9+/uuWr8cp/3VrgP2zsLj++eWT105fXaKJrzeunb5qxPBB9YIIIb9hHlYq5TeJ8mceWsWVS0LiWrR3IDm92H5fuu/31/xq6JIzFnvr5SkF+ey5cIchqTJoZP72SMrv66Xz0OO410+RZ0fxjt4wK0xsEiH46CTg57nVWhoZwz11V7rBjfD2kK0fkiZBCDzeKKpKE07ZsSuKCEuiuUKGG8MpEFAOopBEanOvxDr4PokSTggh5GR25nN+n+9BrJGK9FpDM1foP9NQgX1kludw7AGTbYsZsnPGCcWGQFiCLywj56vplrb7vuvgjooj44w3aVZwn0HUH0yXp/Q+62QN271gc17ZCmOAwGbBQdENaW4B7fMNex7ZLjUGR5EALwL7jT2SuThWRvWlhiXAUa1PRFA9syqJ2ZU/11dCkqGxSKZx/fSVf/KILz2+/dPXfzBxLtEDR0V+GwBTCkPjjVOC2B8GFxuT9og3oNm8G0X7ZlIlzyrsrpeWuI7KbglzGJKqPDc+9uhFb13AkmxeHJKIPO+uld6IMotNoouMTSJEqxd3HlRpJdi4Rm9WUz3EymM55F7reiub71VzNXB+B0ZLKHmly76UD+A7oQeRkRVNYnHJIXrCCY2T2ZnPMX2+ntprZaf/ypZCY8/tqI58h2NC9LJtoaXA2HLfqGE6J1mlbLMbEMxA9ULXm/nzCAf2N41Wfqneyi8HNsxTJ+j+hecAyNsNpD/DfBHeJ0TYC2yk4T6EI/QzVSlSt9K+ZayHCPDQVCEsmYvyPNoEGBih5I3Ho6W3POfqqO5ZlOtTqbxCAjvZ6n1RCqKT3hYKzWMiEs06QpvG9S+uvlYR4Ounr/zTxLl4uZky8ot8WGHLl36TEPIPjUMYeB/IAjZQ8uzmFdfCxiJ52Hv+4IxPEaXUUFzsETx7F1K+LBy4YwN50iryvLtW+g3aw6wLTGwSIcjndGXzPZgwc57hrkEmYoP6QI2FKMcQV2jke4m0t1j5fdXMv4hig01IRj1fGFFPrsThWWyIRcceyQ23epWH1DFYDA5OfYbp86UVY1GZNFYFFqmv5npew5O7OGHQ1Et4jSA1vZJ5h1HG660LZyAVGuzz33OTrjcLv7hzlN2qtkP3nvDRwP1SXOP1/fK+uO4t5F5xdxIR7n0yYB923Wp7G9Ln2zXtLm0gFulIEmBAVJNgdBY5Gcam71mU65Pl8Xqfoft76eGZVIkMr/IXWx2OwdZbtoQ6CkAU4OtfXDVSFUGI/wVRTn5Rzqpw4us+wLzzKJTlQ/Fwc0mqTr+vsOT51/zqsI9QF23tcjMe9pxe3x5h1CCpsNgjZE9xyOH794Ix3aINt6KCKjaJEI0Kqkr7FrB/l0scsWSbWavSW0RV0YWNeVIRatELtmvYp636uoJFzXufm10YW7v3aOym7zMKgis0yBI5PAtIM/s+qDDeWsMYX/Egd4TmO0M7qq+4TNrKTv81zJoIcZXJCMqdbUmUEiEu6a5YN10l1rarmftxq8Qoh2zkNWqo6TZm7ayi6x9iZbf+a77Cey85rBvmHzV4Sq9X3sxXgfV38GiAyp0qm+8hfb7davuZUeJbhfUYQ3AUCTAh8Nxh7uBkC5u+Z1GuT6Dg9syqZE7NvTkkmb75i61OfrJVy0+2lkzHGn37p6//cO301SU22ujbP339BwAB3v/21N8nTKzDy80Ukd/I+nwFBlfyh6H5UkXTcEuk8f2+gpLnjUl7pDm5siY45mYU14DpsfVUWejcaEfpEINzblQ/c9RKsIeuIDaJEJxXh0cGISSW10erQ7Z7xyKMvqT3Als1JohwokF/p5h4OZb6uvjKnAWfcwkuxuHZA/ddkEOaZx/l7nuK8b1HuXf3Ho090W2X48Hfxyt2hj4xdG0AUiaNVYBphM62FauZwh5YQgDRQg4Zj001du4D9jrFZeSh1HTJfeMh8I6hqMwAmtylJPiwgP1i875IhQYIhggw4ME1r5zDe4BHQH471fZlE3FIR5UAE0LI4mi5pksyH4+W3tIuzFHcs6jWBzGrkmQDXyLEMbGSEODvVdemg2unr/yDVnOv/8/lT+mfX//i6k8qAmwqEokQpxSa92cKNVZ3CI0qGoAMYV5sSb9Ap993Y9J+1yqsBNQCqfkWdWxU17K3Xl6AlEBjiCI69gjfJywk5Rr9zAvuRsCCe+wCnUEcB7rItIbt6tY4lIh2qu3LgfPhn+G9VihE37CwZBl7vV1A5KKHerPwwURWKCTWyHt3gxBciMOz//ySPt+Qyi4WrKJrDU3XvD7fEyemPoGWSUNzgHmwI3J3tivWTeE50Zm68gghk1ipWuMwFdzaUfb5hlHTKxluuo0ITgmzujID8o5Ab3b1i39ICgU4JgdrhIi/IE1+2fEePJDIAafcSruPGDuU5dcyHGUCTAi+3xZCMk3esyjWR4hE5XXNqkRlzkyp9HgcZlffnvr7BK/Hl3V2dj+nVoEZ9dgE6q0LZ6Lo85UZVWDP2Y9RB5r9vq9YM61WceVSs2jvIOZAG8hgoCqFjjD26M3e8wdnhEZdqkGR8r3nD87g+plLH0RrdRXsyKsQ0NFJLhnsAlXcwPnCRSNijuVGG5qIiooa4ExfSqBQEVzHH4ZviCVSbEXK8r2FHKr0NCys7Ddf0kS29+cSdVhWJq0Dp/zYYNmzJPInbI5wnJFJzsZAUBVfqWbWZOswp6ZbO1iXbJli22gVplxyjH3viCXqLoUBQL9gRbuDYeDt/kJC52UmHmGGO+e8iQgEFkedABNCyOLoDwOLo6WmJtEMmDuZvmem1+dB1OtbUMQi0Qpv4WLrbH6yVXMJtbI/GgM31uillNCevvK17xgAATYVieQBUH6sS36FDyFkXqc7+sfxMUS/r+9Fa6No38QQX3pAHal18ft66TyvdFmWs8sCq/7uUf27rFEXVv0NZbplgPjrAhydRJVPdwH+G2zfrIbLtP4w5TxtwBgTg9lHufHgu1hueLb2l+P8uEpFBR/d4gZwePatRUCadQjwXHV7/GGl+2Cu2p0/GJ1AdYAIJ05MfWJlZ/7jlD7P/AcWhzSzbw3NXMGuVQQTKjAk1siI2owsDQ6L1VrmuF2zRlTnXa0MDuNUbSn5fWIyIgrxXvKmcWCG1ftzU+tIEQNUJNiUARYL17VZ+VAJuVMsfCCzpFumLOuQYF0yZ/rzURJgD7p9t49zZd/fQVSbBqbW54Gn4NKOzdBYpChw/fPLJyFk9voXV/evf365V3EBNMPaZ8unddBoFhYi6/MVqLWYUqZ+JcA6/b5syfNG0b6v0zPsHyvoPE8dEyY/KAAAIABJREFU7K6X79LKKCY2aG+9/AKhwHLL3PfWy1O7a+UdlPoboelWHCSYENAzd54QVH7vPD1/FJvZosG7PrzztJloRAx4JPXgZwJH516cpZrgQhyeRevxzFKh1zJX3R5/WO0uP6x0389Vu/u84f5sHjIfTO0Nlkl7sLLTfzvoE57u0D3EUOirluIeWO55wqrNSJfkOBCVa/ZKNbMWlvBDVF+2uow1xkqzgfsEd4etf9zOZl7fHhqUGthIvjCFZTFRoxtBn6/M4Kqr2MnGlkN/TASYEE21lTGdiooAm1ofjfxkqymLRRIRZM8ROkoo1V+OuzPUDCtMJFLDycmMpM+3IShnajilTCFLrJMnwJr9vr2SZzPE92Dw+oijgtsTG4gYkgFJLn0lxizR3lsvl0UlzSwp1TDdWth7/uAMmLDHZZQlqLqiySDYQZnO7cUmQYR7B+D24GLbqLarW+MmfEEw4L6T+eOHpO9qKoIrJNECFZgQVyxBeMHMVbfH5yqdlyLSyyXC1c7rubmu9F57CrCU+GZnfqbjkAhxcoRFijG2L3ilao1jiaitYVClZzQVJIbY80YB25BrtldWLcoj1i39hlSH0dVl4veZ5N8XPnrcyWQ+vTOc2e+NbOblnUxG+MXiZgffnHXMsdacvo9wweU64EQ1mBrzonN2IXEKgDxBGh8bAfaAVFt9ZcZRrsvE+mhIVV4JMTYNXl8utKfXKWu+0iuNhZhh6UYi8TKAQyu+qj5fc1FKibo7avb71p4XV4/rHKtSlL25k7wnMqBUWLZ82T3WVX4ZYuw3tmJLsvfWy2WkorvMnhdzTBxgn8e0mZVq09gjsP754M/2TnXztasy622G81yukc7T3nO/W20/61TaLyEu0CbAI6h0NZ5KvYVEGM2KHJ5D+r3MzXVPYokvM6RZy1Z2+m/yPt+gouuQXxVpxkUjwUt4rVAthMhIID5pjLEfOLD+mjVipM+X45It/KyGEiyrEKOry+qtC2cazfyLfn1fSEEIuT2cWfIRYHfcHs4s3clkQpcxmkZ3bvNkRKVRz0S7t9vVrXEU2UbsAh9FAgz9PMaAysS64lofi/xkq6YivVFEGhHSK3X+SRRRxDO/UkUczXxxdSzKSCSj6q8ktsB0lJLOtZpCq7hyCU1Qi/Z908S3Obmy1iquJPYShQGYTK6VPrDHcsyoXrAGV5RaW2aOxRhf+ckzsG9YVK4dNVzi2DOUQpQ/947Bq79U7JFzPkw7VGCjoDu3eRJNpA96naVzRwFu362b/cslr2w0kSLCSOgaHaLq72Gle0tW6owY87LzDGZmvsOouBDVOJOd7rDl0jKsVgaHVUqlzI3ZVXdtmuDxiKqBzN19u2oZzXGHYLWWOW6kz7eSece7L3J1HH+9kOoykEqcOkEnizuZzEke+fUR4aw1lvQ6PXSq7ScREF+pizPyYeruSAejHESIiGQaMY6Kg5z3MwE2cS5CerFIXEOsqCKNrv/P5U85/bqvv/3T13/wfQ7a0+uRWvd4CHHWjURyS4bCqb6S2IJoopSSL2dCmV5pGlsdVrWXB4SausQctyAiyuxn2YgibOwRXWbtkmooce6LWK5upX0LRmIPfD661fYz8LNWUHHlGmht62xWY5/5nvcH91odIj0f2Q0mTBn0o7Gd2Ue53vsMhABDIox48+iu92G1u2yA+B4MRSn0yezM504/7/RfWeJ6MjvzOf3fIsLrEOmDsmisWRa/n9XaWalawndPp3xaoohWMq9Y4qzsm61kXolKgpNQgVVrgZPfoEs2lFjL/g54YDfN6RizBtBDxDum3ircdcZBJVrqEB0T7mQzL5UE2LL+QAgh3v8mCaMEuLL5XtTnS0jo3uJ56DVB+00Dx8k/H4jKeTxaehsJ0RwtNZFr++gIMCH82KMoIo0IIeT66StfSwjqT77P/s/lTzEE2CO17jkii0RSlA5pkdF6M38+oiilvnhgbUzaI2bVXHXv8GFRe3mAEEqB+itVcF11OFDehiGwPBIbxnE6LHbXSm90zLXAz2yKiGKetUGTSv/ms2uiKXqOz7PrRTtPU6XbMuLeqW6+xmyMY+H03eYCvaN8Ahzsz5VEGL2aXcgNc0xQtfpFjZPfand/rtJBb7TSecBeSfOJE1OfcHqE/+Md41eTp4VtTyL0+loVfb5o52MqG1gUv8QaP9kV62bSKrCpPl+eeZeNc8ZG9VyzLVOE4DxEvPcF7/M8wlxv5WNX4j8q3MlmvlaR3zvZzMsASc5atSTJsAnDK5lbs5HeYgmxZrGYKz+NgwDrnAdI/njnSgkwB4VC81hhsnkjikgjQpw+X5CxFWNQde301SUMCfaOBxJmLWW03rpwRouQNgsL3PnM9fnSD7IPjT7r49ko2nbEpPfdRtF+8mt+Ver78Gt+dXhj0k7EGBEDVQYw20u7h3GNDirH4GP31suhXKN5TtguAS/vrpeWXCUalBtMq9Yu+Uf9m1eQUJ9hFpKA+v5uqGMDVV1dpqdX5NiMjz2iyq9hhDnemCQOARbn+PJzf02VPz+sdp4YJ7+9AY9IGhyc+sxvcuWQ2RND1wZE/b68fmJMGTQhHumUR/GEUER7UVN+8mftcMuCFeZcspJsUwin/vJdsjXzgnEEWPfdxKk6633nNpRVaMlXlR1Z3M5mXisJcB+WRoMdJXkP2kr7pag/12iGMMIAYzFX+h5CsP6d+1fPFfjfuX+dkn5+tBT4wlscLS2ByNxY+djB2iDkrxQo4VWq2thzMCpzaAIc8fqSAlSVvf7F1f2ZL672fn+hPb3s8VFHIulk8bLRAqb7fA+Itri3OEk8L64eT0rt3SjaN3ll2BuT9quNon0zpluAgqicmRovqM+CzatY5RhPYP3EG+MazctBFqnHLqHlbhoR4pBmnuLtrgdEoD2wJJRHZMEEmDHNIoRrnOXz9XD7g5+JNqnB5doHYxt9bNwu0QgCzM8UDppjYRyePcxVt8cxiu7Dauc1yhEaQYA95ZfN/3WIMUNyh64N8PqIM9mZ/cHBqc+w90EEp084pAEUVRLtGmIJiZ3SMItTUhwF0CpwJfOOVrx789SskRB9xGjXbcyGOmvC2UCkXPTjO8ahx51s5p9q9deq3R22/iEmwJnXSZlkdSG9Pcxur6zP12RpNTYLcDFXPoslWUoySxE46hiYoZNLnhEGUAElU7k+/Dl8KjOUAC+O/jDAri2O9SUJhJrr6wdGRCIdHH/68p8xirEOFOT1TaNVmKI/4/X+NpqFBehDBruL2+/5fRtF+35cai/KQbpo7/SjKqxUgddKb7CxRcHYI0BOsJg8o1yjWYUWsnZJxrFctV4r/4KJXPKR0N4z86A0GKEAz/vmFW2Mc3pwRRvUOrFHvTkBfcvYhAgTwBBgQqSxR/uzC2Nrus7PEEL7sNJ9P1frjhDiOESrTLIwmcA0RH2+vJ9Z2W++dP6cjUXCl0CLYCLCiCaIsh7elao1DiGdcUUi4a6d75IdNi9YN/8YmAX8y8HnL5wBlEm/8X2mmUfF+qVQ4LZl/QFQ+tzrE7yTzfwk+tzdYesfSVwDZpdYVnLUrWw+MJ0hzD5sIYD254YhY4tj5WMGz+EN7kMA456MIeXU/KC+6ce58g0eCY56fUkDYlDF9gNj1GP6eKAKrBWJRIhjKsHdUXVLnRsGDLN0dnH7HWFMrqC9vbpEu9/6hn9fL53HODNjFViAyswOnyKrIuiyc2NMt3bXyjvMusEu2dj+YNqkiv5zkGs0R/1VPcc71c3XSs8P3HMe73TNU52r7XnVBn0YQAiwY4J1EGXpRl0+8aIuZxfGamGiLueqncs6vbyK456pzK9ECJDfoen7J05MfSIogf4bIcESaI8Yh4XKIVp/+Mki2mm5knknWrNpqNRokUu2bSIvOITS7RJaLgmm45AIQVWzTTmfd4gwPUcKAxDFHvGMrwIZwZyopKSuA7DjKowgQMca6Y1taL8PMnNWPjjqr4dFYB8wYnD7WI2TbeaawlxHHOuLCtc/v3ySHtLPIft5CYH19AZ7fK/UsCXXWNAPGdpxkRC9MmkN8gsyFHLJ+FRD4D4dJzRjkZS9vb25Q7pI9xsJ1lBZZcOfCxwi9iiUazSy7No5/qD0OoxqDQXPGEr1bGY9PCDqq2yDGhHVdLCxTpdWQ9qyeKS9tjXCkmrTJdIy92aK6O7fW8i9MnleGnPV7jy0lDlwbDAneHuuuh1qs8Cn5g5N98pfrez0X0UE2Pn5zM9WduZn1jk6DIzE/0hIrNtna+scb+oaVRDHN/FdspXu2PDhK33mOWpDlPBGq1B2WqLyv9Vb+WU/8YW5QtPEmZ673sovp4ZYhnB72PozQP3958Hn5WQ5UQIseGjJQugjzBCWPvgg7o9QVVOheEofDItj5WPG1ObRsnTnzByp5/YYayu4cazPJGa+uDomI5nXTl9d4jktf3vq7xOYfl5C8JFItMKrJsp6kUiEHDgs8nZDoyTAbimSlMw2moUFUVmT++eJmWQ1J1fWTKm9hHgu0+o5oYQbQrbjhAklOFD6vF5a1iXPov5bCQn1vTxhCKxvuGZZYa47DACE8kB9xfTtckgoIWgCHSDRXVhLVjBvWHzcPPtZXYgI8Oyj3P2A6ZVGby8Ec9XuM10zq7m57kmv3PlhpQs2F5WB7um1sjM/nxi6NpAZmr7PK42mCbDJnl9CXMfmqMhvePIc2YYID7Y/55jrko12xxYOv4HWSm3wknNOx/3aZpRlnVgo951FWSJNvSe8YavMmOP7ymzzUEIVe3Q7m+ntwIEygocGJ5K8ni5VtqSKGejiS5yUwymrclTe7tzmSenONcAZOgwJfpwr34Dcs8XRHwZCk2AF+e2dC2jwpXMe3XsV1/rCwiG+8L5cntsyVJ297vYDf/unr/+gSYBhQ6Ja6yIiAvxG9cCpNwu/QHd2nZ3h+M0sRLFIGLW3Nxe0zxdZah3l9evAJZ2oft/eYKKHsLFHe5ThFiF412g6c3gPX3btI7NhVGsTUKvAm681NrPn2fNgY49Yjw+wesxsyit9RxQxjVDwY5DGdkSRR5A552rdkblqd36u0nnpGlY9kZFTjPszVwVGGFxBwIs7Eo0TQ9cCLVQnTkx9YmWn/+pkC+uXQouVT6C665BG25Aayg5bfQXmcLAZwHfJNpYXTBFru2aNBMqveSXViHLweuvCGUSEY88V2iHMF85QxLlcbxXuUlVoWhU2KVxAYo9oQoshy4QQcjtrjbH9wreHM0tRk2R3F3Ve+HNFBIPWEITbK0k2wB1ag5R1FgWlyMJzjJWPLY6WaxqkD30u17EaVbL8eLT0FtJXi52XJcBRr08HLgn9SZNk/sTOhyDRP7mfF5poaRhlBcqlTd+vBqdHOESps7LPV9dVut4sfEiin4cmrjq5vRtF+/7GpP3ONPnt11JoD3vr5TKq95ajgKKJdKjYo4BrtLGeZvW5g5FLYdGtbY2YfG6LzCm7SENNlpQCUym26WMwpDuscRaXAPMGJ0OYxVx1e5xTksy4MQfLkx9Wug+QsUbbvPObhDU0c0VFfukMYEIc4st3hJ7u6JRF6xFgfqyRSyC1Sp15Q0f1DAsB8b1pIi/YrmZsdn6k+Zjy9wP6bkB7mHhgibNHeP3VZYfHg6SvcCeT+VQZe5TN9L5obw8NTgBKpb/ufV5VKp3NvKY/Hwdokw2TQ5YhrDof9GHmENTSpcXR0pJA6XzqEthQWbK+83BIoKsUP3VJebhzjf4w4JYdP3WJNPeaVGXcgXlz5bPuvXgKUbbjWN/MF1fHeGXJkOMg5cQYJRij6l47feUfikikn0KQc2doRiKJECKTzz8UsUbubmwoV+kkSLDn0owtN96YtEfC9vmCRtHu6/6mPacUmKvEuuZPyzwXZA0Ca8w1WqPsWp/8CtyjTUAjlkg4eCZT2EhF3vMb9I7BkGaM/0hYcyx1nm/Ohjg7Q/t43XJl3/V6ZcyY8bDSfe+S7Xl2PKx2lz31mR4Pq93luWp33nOSVsHKzvwHSn55OcAix2gMUIovJ/6Hmuc+gswpSTb2OkzD2RwwoWzz84J750GQa5lbdL2ZPw98Bwj4iYiJc36JndfU/f2oAIo9ymR65YkYsixziea5S0cdncSLWTBCfBUZwmCyHXMOYIr4cP3zyyc9BRXb86qTxSscp6/4Npsw/cDfnr78Z5nSG5akXzt9xbhzPCaTj1OevNOQ9PnWm/nzgOgCFAk2ff2msVG0bbNEd2VNNme/qsAsXFI7tbdenqLLjXlAOjeHjT3qqQnYsmva+VmrZxgRgaQDQ0rwPHdu5LwsGdVxrEZGLnLXjYGE+L6SxSHRwJBfNs6oN4dEOY5iQLOB2Uxgx+jqgMha2W++DEYgicZ058SJqU8wfz/KPF6H/L4SkS9HxTRbAs1zXI4TRvp8VRsGesqytCy83sovS94zAh4mDad6TbqpXm9dOFNvFn6B+JGk4ADUy0uZWUHI8u2sNUYIIbKcYJka7LlMm0a32p43Xe6siijoYnuLgc7QKQ4Prv/P5U+5BlIMERUej3Ft1lRaEQZXr6+dvvIPCbn+Jzj/VzC/6fvvPiRQZcnu55V9vqaIL/swNH0PTGBj0h4xW+68skbn/m5M2q+4vcBFO9Z+s6iBdW7eC+b26rtGI8uuaSKPVY7ZsuuoENK8krtGJBHlzgNUkHvHxVn67MGJMKKI76PcO4zZ1Vx1e1yThPrKmB9WurfiJMDUmFdd4+Dg1GdW9psv6X7fE0PXBmQKsWgMZma+w/z9qMtw+WqsXbNGjDtIVzLveK7LcSP0dUmijUIryxI1mRBCOO8hb+qtgq9FpOGaekIr00zd148SkNgjT5WFZAR7ZBlCrCEKsiloPNCUO7fyDOH2Lc0opXnT154iObj5uSJF9DWk5FfVW3vt9NUlWW+u6JjAWoHly+56hCqvs2YJSVaMMJFIIjSAecBR9vkiR1+5OmJjk1RlzTTx9SBzkE7imqNCKOdmPHk+cI0O3zesrVrHAY1n7jx3Ho3YI+48kKovyvcDvHbB+XRBuT2jPRhCKrfzvrmq3e0kSDDWPRrSH0yrxWx5NPYeywgZG8Pj9PpaT4wSX4XK7CGuvmBdc7CVamZNdA2meqRVsUiuqit8z8Bsqtdb+f9XbxXuUipwLBuORwa3s9aYiozeHbZ6JYlAsnySELVJ1p1hx1RLqChH0BNsUP0V/kPr1rZGQkYpzZu+7hTxQ1UqTCumsnkApc89YyuEq7MzGNdltx84VI/x9S+u7n976u8ThMAJNY9gR/F34vbLcEuKYMS3MKUqSTI4jDvn6uLX/Opw1D29qrLqfotE0sXeWvkXbQKLLl9mY49ClV1jXaN9Ji5xwu0N5rc5ObGDT2StRibco4EkuqeCYjbow/b9sph9NHoJ0ufLQqd3NzDmur2/hxBqcvgB7Avmm1wFS5198UjMMTznaBlWK4PDsnLcldrgJZfA3TdkCMUOqcETnbsbGwlGkXx+XvDBXKb6o/kO1Syc7F6/nwhqU93JFO567y30cUkYaR5aqHp5aSdnTEYwxiTrTibzqercptANGXUkyxB2518OTa7TEuhDj7BElAaARP7EfB5MYHlE00SvsTfv9f+5/Kk2oY4gEsmDs2uaX+4F0zMlSMHPXzhjss/3sKnAotJk3UH39G4U7ZuQsmqeYnzY8Pt66TyKRDKxSWFco5Msu04S29WtcW9AUhbCxh55AJU/u+ZXyHPOG75F2jBStlzp+J5Bc6hMYKND6Szt9PvCS5xFZdJYAkyImgRHMVaqmTVZvy83dxcRCRQGq7XMceX9EOQFezjI9w1/n1SlzyJgzDNpPxJRhnC/tk/1HaKIPeqVSuNMssTroIy3TEGnLBmUIWxKXUaYYJnIAUxhHlgSyStH9oAlixhDK1qt9Z0T3g+sXJNuP3AUZlg6aDQLC1GUOzvku3BXVvJUb+UTd9tsFVbGzRpeOSpwq7AyjiHWR4EAE+IoqRAyubtW+hAy9ohxjcYQ2LLv310Y1Zpaf5k20dpdK33YXSv9trteWoraKAsD7PuB6L2gCyh/xp7TVN8vFHPV7fGH1e6yYxh1QFgfVjtPXPUXZX4lHn4zKt/5YhwPK12p+CB1hR6arg0OTn3mfXZwcOozIUmmPoeFk3cbSa6vjziqlFxF7q4yEsgE5MqtJUxj4eb7hhgy1dct1w7cD4x5Jh2LBDlOtaH/0UOkumqRVFbRhZhkDVt/9tYhI8tsRvDdYesft7OZ12GygzvV9mWEGsvN86Xn0uzzFT1Mhb+0NHy9TikJ7ksAlFvf4PW9ugoqmkAjz81VMLDrDwyqtBvTD3zt9NWXUaq/GCAC61HEt8G4Ncp2gGXRS3FA2/FZg+R+DCXQHlSkkkNg9cuXQxBYtGq9Xg6YskDco111O1EX0y6yQkxESIHlz8vuOWGJFIb7fmWYm+uehPT2miKqD6sd3zNortYdeVjpvk+AAEvvsazPl/d5Xrm0lZ352cTfUSQmV9WM1CCKELg7MqQU2Mh9YDYDZKp1VP3RvL7f1VrmuO/vh1GIofGMdF8vtD+4HzbO+xp3slYNU6IMVXQhJlk0sVWSZUoBDpD2bOalrkIM7PFZFsYahXOdFI1nqnVvV7fGA+eN8cGYAg6sc7Oo7xWs5FK5wmjXaE4fcqjyZQ6xBph0veap0UlBVGIUYrwRlTQrFOZEy6CxWb8bk/a7jaLd2/HemLRHwpLfjUk7lrK6uPH7euk8r6yZLSHew/fflulzhCGwYcqunePR0UkvklKE0VVcovcDQPnzdnVrHLMZb7rvV4QQ5HN+bq578mG180STgM6z65hLxhRrnn9nCLGyMz/LHJ1ZInzixNQn/oik6U4Y9ddDVCROVu6s4Y4ci3O/03+c2ber1o5MtbbN9UdzjLL8ajNPHeeRZGUskrv5jTPdlPuYfPSAujPfHs4s3clkTkJyfD1FF2SSRRNY1WeoTGDh3Fmrhs0OdnN5hbu6soeNcTdpoPLblfcXz2OuP0U8QPcCc2KRdAk09tzf/unrQPRYyDijgKotItT9Uu7sIRrlN6jkNkCmWsk+0FBEtWg/eV5cDez8bxTtJ6EIcNEGVcYQ4rhVH7bYpN318l1a4d1dL/tK2MKUL2MILFt2vbtevoshr6xqvbdefoEkvwfrYHqQo4bi+Yp6ZncV5c9e3zCCcM/HcQ9CkF9f/+ycRh+vSH19WOk+iJMIs2o0DVbR9f7ccXl2iC6b8+s5QFvZmZ9p8uv1B4vUYxnMEmC5QVRAycQMzb5YLKTEN2yskTcqmVfe9Xj3n+39VanjvHXyYpG8CjHY+4GfNEdxf48UQL28UBI7fBB7BDLJwgy6BBuUVWz9WXzVQQQeeJXN97Jy4m5l80HcGcLuOmH9xYjeYVPY++/YPjviXkM/Q0tFZWKRUESWItDQ8mmKQHOJVpg4o+uMQZfrMu07J494JwnXlMIo+W20Cvv1ZsFnaIQoZ0r0oQZUaF/JenSfF1ePh8kP5pFqFm5Gca/culVYSTyvEgvXqMqnwIZyjV4vl8MQ2DBl11jyzB2MCVhUkG2Ic4ek6go0l6MQg0qf4+z71Y004pFGHSL9sNqVxrg4LtHb4y4pngcNnWsSOEI7iq6vnPk/foXX6QVmj6MdoU+cmPokMzR9n1aFdf6uQquZCoMoQky4I/MziuMCX63VuE8V6yY7N01m4T3FwfvR4MQiIU0333gkmVaNU3AAiT26k818DVF9e8TTsv5ASATEGmHApZsbTBHLedFnXIdG6Y6u5hCekxCt/mJlCbVppARYDTcHGEFEr/geoEhDrddhzk2XUfvmCdMPzBD6b0/9feLa6asvReeKGrvrpWVWJaOB2XHFk+D8eWyGcNIEWNbD65Y735Qc2/u3vFG072uqv9KXtOfF1ePcPmVB3NJhgoHyZQyB9ZVdG3CNBp+7L0gwZoNbktQAqhBzYppCEW1T8GKIwkcQbfs2nOaqncsm5jFyjXhFel40FyQDWOTyTCvFfiJ9QJChCEdO5XE9ptyRHQIZJI9xwIjJlaIfWjM7OGiIRfX5Nlr5JeCG+oExlrNp3xeJEX2PO9nM10Iy6hLJu8PWPyAk1csIBhPrTOYkpEyajkCCGnAF+poBOcKdavuyrM8XukuLHM9kam2YHOG4+oQ8pAQYBlAeMD0YEyiUisz082KOleXvotbgJ/R9Ud68t14uM6WkgQeGmxMcRuX90GgWFswS52RLoGXlyyLVl442okkwup9YUfq8UbTvy5RlFXmOC1sTF05tTVw4tXkuj4o/2V0vLaPKhg3FHu09f3AGGXv0G7Nu7LkVynQ5NlfTrqIUWhR75AGwaf0MSrSjfJ7PVTuXH1Y7r70YohC9u85g4owI0VSUOfPAr6k7/7DSfU9nC3tAKdKKNcjcoHkqsJX95ku2fzhAmpnSaQiwpb2quB7T7siegoq9rrAIWyK+Us2sqUy8wmxAiOYGu0JThDmFJngGVLezVq9nD2B89RM1F0qhvZ21xmTH0OovJKuY+7MQEUrdkHnBogen6oEWtr9Y9XA2CR755ZFhGUHe+zG3vfffsf29H3PbsrkD5/4xN77337Fnuz/m3h98Lvd698ex5b3/O9oXDsI0NLJ1/dm+WCWXKivGnpvnRk2IhrGWQJWOG3vr5SmeEQ9bskkIfPdVRVRl5hYaI9Gd3VZx5RK0NHlj0h7hkVzvc7K5MOS3VVy5BCHTG5P2O0j5dBTYmrhwqn0uv9SeKOwHxrn80tZEAURu3I0bpZoaLvbIT2DDxh5B1d/dtfLO7nr5roow835Xo4RsE1r2DAeWPyfa98tzeH5Y6d7SLX+WqsBOVBK+pLrSRSVbPKx0bzEEN1ANh8osBpBwa2i6pnKEPjF0bYD3OT5pnrmCuWZCaAMoNQmV9clqKpnGyKRp6KvX1o6qb9mQOh7wqIBsvqclzoZBK7JeL6+H25b1BxFiIiLlAAAgAElEQVS5vJ3NvPZKn0HOzxQZ9Y4jRKDu+uOXlJFKAsIdcLWFoFtp3zLd5+v0FotLppzzGuwvVpzLFOAEOPfS9+cUQRUSY988uZf+n43eUp97tO+ioQAuyH4SyzgiI5XcJd1zS1VgJBH31sKWQceBvecPzuwpTHhY0qBDgEUPJVPZwf3wwBOprF7vr5MVvLImJqMrPQdM+ecc0toqrnBf1hxHafnxWBU5CmxNFMa5xJcZm+cKb7cmCjcgc8pIooHyZbpvGJU3zJYoQ8u2OYq1Su1eCPv3ggWnDUnaZmTKIDOqvl+Ryvuw2nltInaI2wusoSzLjKhozFW3x8XEPVhKjYhtArWTDQ5Ofeaou9N/Y8ueeRFIwjE0fV9UNq0CwKBK3edrqtyZId2JlT/rrFV1n4zFTvFNxxQE+E2a7RshbmetMZ5ieieT+ZRTWvwTTWJV5c80sfbI8u3hzFKvd5g9h7sOaKSSrHwaijBlx3JFVu7u7EQhmMsR9gg39vp1oE2Af8yNE0LI3v8dPckjxq66yyXAwZ9JhnuefoGGghqqn5dWcrHnFqnAhMDJ9LXTV1/K5vFwfkbsQKkLKAFglSUkAe65NfJgohQ66f5fD2FdnOly6V/zq8MyoixSbMOsQWbQZRpQ8qtDhCWbOmz/LVj9ZQlsGNdoQuCRTUHFWh6XxKrUcaLrGVEqjCaNPMsjeH4/rHQfxJWr+7DSDWzA68Yqia7HiVvqLiuO32aPg5Jx3jVAIerzBanA2Zn/0E7R1tDMFSs78x/Z+VYrg8MilVHZ52vCHRmoeMblCE0IVgG2pO/oxrKDASS7wfiP0MZYKRLGnUzmJC9uSNmjK4ky8nqIvfnp/0ZFKiF7f1kAg+tRO7jSPt9ocoS98qp57PXrAtIDvPdjbt5PTMceuH8+ziXGrML7Y653Pbs/ji2z5/v9x7Mjv/94doSzlthNwVS4fvrKP3Hqqb9/FtNLzCq5mHOzRlyB61Cp0Zw4JxbnZ6zxr6YznfMzmX1TJHgPWC7Ke/EnBEaAafMJFcJmCdeb+fMm7ktYhHVxbk76TakCZLZo70j6iaV9vrCxEshgjALt84Vjm+cKb7EEmCbC7XN5Yamihz2qrD9QvoxwfmY3gDDH8kgsIQj1mSLOENU57jJoLNBO0oJhsu93rro9jlA9A+rnnEb8EC/OyHVtRs/D6+Wd8/p8YUqyj9xAy7x17vXJ7Mznqj5fAAH++WR25nNC/H3GqqgkX+4sFdfDw2plcNiMksklea8UpDoWTwYIYVXlHjvzmFLH5aZjHhquI/TBBniq+vY9pBFFVCmyKCbpdjbzmu75lX0WQH61S4e6Bvp+O9XN151q+3LU5xGM5bijkPQIsENosX/u/mxbdD72z3d/zMWihGOBKWW+/sVVn4syupc4GIsEPrfsGtg4I5o4q8qdJ2Yyp76asZ46xNcZX81k3oa5pw4hgClXu2ul335fL3GJJfsA4iiyO7KS5Horv1xvFj5Q800d1t5fFrouzkw58s3efJP2O9dFmvtS1CqsjGNNs2RDVFZtEpsT+ae65NdHhCfyna2JC6dU53PVVn//LaL8OWTs0RvCAVQB9p9Xrv7yjkkaLFE1VP48b2p9AIVUMA5Kh+fmuif14ow6AVVNg4j7yDghyD5eSkmeq3YuI3qcUX8Hg4NTn4H7fLMzP1vZ6b8FnaSnO14ZtZcNfDI78zkmKsmuWjuqkmOz+cFigpc0CXZ7msVKrOI+Ob3V4dVxlekYD/5N81T9PRSA9P4CjLK+Bn9WWG6NywJmod2HC1BeI+kvdsZ23O7PHoAEmFvSvPvfsSc+wvrfsSfunM9Epcyy80HW0g/AxyLp9/Ne/+Lqa5qQos7NOFGz+PbU3yeoz/+k+jwhhJy/PnSMJr7MAPVCsoAa9uyuld6o3GTrrQtndPpxG83CAt3z64s1aOZfHHby60EWiQQsRe45gopyep0SaVyfL0R9jjoXeHOicNYE+WXNstrnC8cw60CU/4fqGxb9LoF7gN3joYQ5yRJoFl6MUafSfun0Cbcvh322h+37dQynDsirjurqjI5vA98hkBrzMOqtfswSY6xlxKxLOAJl0yqw2cD8Md1hVVwrO/3XTHZmfzAz893//t+X/xcvG5gm1jpRSR7MKZkwFdWnSPNGDOXQIrLP67/1YF4dhym/NLxN89Tp+RBBGJuUtWp3MpmTqlxhjdijn24PW3++k8l8envY+vPt4cwSa+KlA3A+H6O8yuaMLEe4svm+W2knavakRYBdx+dAb7BLjEU9w6rzHRYCTEi4WCR0LzETiwQ+N4DQXj995Z/YPt+vpq2akARfHwK/7O+ul5YgvY67a6UPu+ulJcpt9oXsZZrtw2HGFPPZKVGZs0eWVaT6sJBfQhxyGrYcWRZNtDFp10wSX5nCHBZsz26Y0mfVgBplEQIvY95dL/WeW9i8YRUZhSi63hwQszp39M3vRb/5dszVuiMPK933bPmxlurKizPSKIUWzIPN4w2Q0vB5xfwhKrmGQJYNLCOujuIrzgYeHJz6jP4z7LpMKZkcYsc1cuqdU0G2V6qZyFtShCqwINs3OnUcr3r3g/HlR4v/kx8YmC38EbXrTAghKpIrJcBuCfSdTOZTSOyR+as+AJSsdirtl93alnAnK8IcYaOlUmEAJZ28z/gjjA5KlmXzHRUC/O3py39GqsDa/bwsmQWXUQMIsAoT3wye5fX5fjWTeSsgwcpNrN318l1kqaaIJHP7eBV9wG/qrcLdRrOwoOrvpQ2sQL3FrfxOv/T8yqBNgov2jtDdmcoNNkZ+i/aTqCKQtiYKNw5KlQvj3n/3AwEmBGyC9eLg87ASZG+IWgg8QEn4HuM+Lfq9FpVbJ4FuBC1MYSu4GII6f/DnhlRX7XkYNdlQLFLozGJ2/mrn9VytG0qVDJDYoen7smxfaDbwYGbmO2touoZxiV6tZY5H0ucrMXLCRimp+m9NwOZl9TK5xLYhdXylmllzjcX4RFpAvFP0GWaLA53ZyT/uz07+EfXQlcUmycuWD156IbFHYcucVXAVWzHxrW6+VimvXc81MgLy65VdRXkPoNAlwAEHaOrYj4EAE4KPRQrTz3udyRWGqMBhru3ctRMDsj7f8zOZGyIVeGImw+19/H29dB7jUAshxqL1m4owohVj+ZziXh83HqHskmih63SccEkwqBxapsKKcoPDjZW1KF2f2+cLx6IkuzxjLOwaMWXQmM2kvfUy1zyOuwZIdjGH2O6tlxdYAq9qXYgL3bnNkxE81+fDrIlb6kwpmTolw7wYIh31VjAPuqSaZ6w1p6NK8wYg8xcCK/vNl56Ts4ysYrKBM0PT6OoVZfmxvuordEvWJJFxGWL1FHC6ZNuuWSNG1HGO6ZiYJJtPvEhhELOTf7zhkl93DLydLQyg/tIw7s23s5nXnku01EyLQ5ajBFe5Bfb5Gi+PkhDxpIkwnAAHyprnlf+fKouGnO+wEWCRkZSsn5c+HttLTOcKq45VuUDLcH7a+h7S53ugDPvHV9MZruGHWyqpq/byP0+VgdLQyQMWKcYHcwYNtoQZwq0LZ9w18Muxnb7ixMlwq7hySUiEi/aOiPg+L64e3yjatvE+30NkdIVQf7VemqC98WE3jUTkdHe9fBf4O8h9pnu5wH3V+2s+LlErqcDX68src6ZIXQjV1RcFpGuINccxlTIxj1f2ra36OiXj2nFHPKjcmjHZwLzSaUgskmkCLDNyClliHQsB9uKePPJpTB0XmGk55xNuIuwEFpiifzA7OfDWT4B7RLj5/eQfla6UHm4PDU4o1WA2TxhCnDkxTFGAs9MrdViOKkfYe0h25WXZiTXLaxNg6r/9EUb8vmDI+Q4bASaEkGunr/wjln5eqqzZVY9/kn0O0tfL4vw3g5ckpc2BPt+JbwbPCj/zzSCXyHgvxSIyC1WdXHJQ3mMcdGmYU4EP1N16K/+bR4x5BLbeunCm3iz8Ap1bRKCTwMakPeINWemxCTdpTF+xSWxNXDgVJ/ltT+SbYdbLU1NDDl/bgKc0i5zVoRUbopLqvecPzqjKrZOAY3wVeqMbbbg0V+1cfljtvPaUVTm5pdyczamuRubRdHMOGmtpkuCH1W6s70yobGBO6bSjLh8cr45FMhLds7NS4z+HDZHIWL6z/ffF0OaAsI9YXQIeR+l3Cg3MTg7U+OTXR4RrmP7g21lrjCW2t4czS7ez1hj7ORX5pTOC40DX6fVROix3q+3liIivj3TLHridalsa5h0VwAQ4oOz6+37ZfmBaEYae7zASYELwsUjf/unr3qYRtpcYMljXaRUmZjKnRGquqs+XLZOGxCJxXuhfyPqCHfdnxwQLc131VuGuCQIciEUSZAg3WvklHdJdbxY+HIbeYVctNt3na0fV58vD5kS+Y5TgnssvtSfy34sMtCBRSBC4mz0vdtdKv/WGZDMJUq7Mq8hgKyogVRvO3OVDqYx0dVudKpvvZf4hLObmuifZUmaHRIp7c9ny4yTjjHiEc86UsVatOwKZy133vK7RlQ4w2cC80mkvFonnKi07r1yFBCibEnJqkETeNHSbQTDV58tzdbZxJeCxE/8UADjlzyIFmCmLRvYHq5C08ZUOtB9+qtLmSvslT21WKcxJRCGFJcBC5+cYCPBX01btqxnr6Vcz1tOvpq2aqPc0ajBxQmiCeu30lZpBAvxalePr4fz1oWMiAqsa3r0WxSJ9NZ3piByh3Zf5fde4Z8rtDeaqXLwXa/elvOyqV1JnWYwaqyCpwr5Jl2jLnKcPNQl2VeFQ8UmcvuJXUfb58tA+l79ktrc371MRtiYK4z6CfS7aDEgsAWarJUQl1u7v4gJ1Hmi8Ut+4PGOB2gRHkl+R4ZND6OTmVHSJrynVVXsexmTKlEHXwXydyw+rnSdzlc7L3nD6lufDGlxhgckGdjOA/0off+LE1Cf+WCScuzQhhNiVzCsNkmeLYnvsinXTWJQSY0QVB8IRd2uHVwau2UecEuB+BkwJ/uP+bHGgg+0P5gESe+S5RPcDDJU/cVRccU9vt7L5AEKc474XCAI8LiO4bCYw9XPfvy+eUixeS064aXJ+OtPkK4/WU0wUjylgS5m/PX3ZZwSHVZFF5JdWl2WQmViBxnSmV9pJ9wy7JdTKzTXvZRlDfveePzjDe2l3YpLE6rDK7RlUpswhp/Vm/jxVEm1Uae4HuH2+TwwT33cbRfsm73xe+fWv+dVISsxMxhxtTuSFCs7WROHG5kS+g83/xQJjKMf24QL78d94pBkYV9Y3Ts86cFMfpES4U918DSW/DyvdByrV9mG1u6wgwL7yY2Oqq04WL2ce1fpFxF//bykewLKBZ/atoZkr7LFOuTSMOMvW4JAzMCENGDn55zEepZQICUQTeIEaHqYEXFRWnqKP8P3kH0/B1OA/7s9ODjz9P/kBsEU7jTuZzKeQzF/T16eD7tzmyUj6fCXmWuhzInaWTYBHWn//8WxgDUIC/N/RW848o7cgBJinFP/+49kRfx+xV149xu3zOT+TWZKRs69mMm8nvhk8G80d4wOb7cvGIhkohf4Jovyen7HGQX2+kEH1+X41k3n71TQuJmBPErXCkl+gCiVUoDSV4Df1VoFLrE0pyzyyjbmHUWGjaN83Xu48aQf+fWxM2iNcku0YcN00eU1bExdOmSqB3pwoxPr9IsLeerkMcoF+/uAMc9wCiDy7jtGy39WjogJ76M5tnuxU20+6ft+ObdEznsVcdXscWmYMKWumy5iTjkVi44x0jbVMm1dFAWk28NB0jdfnCy2XHszMfAdZg63qSa1k3sn6fJXH66mpibTrEYItDeevM2wJuEhhT9EnmC0MjMPJr78/GHuuu8PWPwDGV7H1bIjgPtDMEl9nCM0Yunol1vMx3hay99/caz6xDarBMoIrIsjB8wmIMoA8E+L0q0IJ2rlrJwKbOuenM82oSqXRpcxULBIhiHxftuSZmYeHiZnMKZFqrjtkfb4Q7K2XX6jIr/uCDzIB2l0rfWBf9Gk0HBdnSKnym0arwH2R1+3zRY7ESESruHIpilgjts/31/zqcHNyZQ1yrOlrNJH56+QHm+nvNQHZBhHPKR2iHrO/T8C4pRfsuT4m6CiioEGVAM8ZijMypd7OGTLW6kewxldWduZnbp8vsFzaGpquDQ5OfQY9v0ti0SqszcvPDTskZDtOqErD6agk/3EGSsDTLOD+xr2LA2d9pNYtcY6yP1jqGJ3tj38wpglwp9J+KerZDRmlpBWroAtxby+MAGN+7mH3x7FlNQEe5eY0fzVt1Xj9pryffTVjPRUdG0WptOvOHKpf1yXBsHLo01f+qVJ93R5dqWKuTYCnMx3eJgMUXBMel/zurZen3B5hTI8jKOO03ircrTcLvzgOzPmderPwwSlzLvwiUnwbrcJU2D5fjPKse0/DAEZIEaNo7/D6fDcm7Rq2X9jkdRqNQTqXX4q61BkK9/fpBUtiuZ+FbCgx8UbQkut4rrY/wc30NTGYWKR+ijMixJyxVr/BywZ2+3wDPbuYWKRMdrpjDc1cYZVjFVgyKzJyIsRVSE31+QLPGTfEpeEHUUmBz+v1U/eN8p0CiNniQIeNP/LKm2cLfzw2WxxYgvYH37s4gCrzupPN/DOp2CMITBhedaqbr7uVNpecbVe3xsOWWCfSB/xjbn7vx9y2muAGsoC3mXmYOXLCa3GV4Gf+nuDc690fx5Z5yq8HvorpfOnxDJ0IcfpdJWZPRs3gsNm+bCwSIS6RPn3ln6JS529P/X0CVu6cuWGs3JlRfk3dN1q58sgv1NzHVaTKrPplYl0e6q0LZ9zM3jiIb6IqMJaYKvp8ueqELsk2RYI3JwpnjbpA99yeC0a/R8KA2Tzi/juCqL/sMdBKjOivsL+hQwaxyqsp1VV3HiPGWpye4n6EuM8XEovkkF5/OfV0B6MCE0KI08PLN3IixCTJg5HKpGHTpd2SPl/bRAl4JfOuH+9BCg4khPZ77zNuf3ATWBqNU4Mt6w+92KRsRlmaGSe6lfYtbXIq6fMlxFyUUlJxSIcFPCI78c3gWWFptMCluDemre/VZ8UBbWj1+WVhi8D1zy+f9Ab0/OdnrHFkrBFC9bVqppXz3bXSm57yK3CmlZV1co4RZgNj0GgVylGUO7vGWWUpsW7mEyklDdv3u1G0hd9fG0XbNt1DjIXxGCSfK3QhVEuAacj6cVXVFWzZNNQJ+rAbYZmAfp8uTik1pboai0UCGms9rHZes73EhwWYWKTBzMx3ntprZaf/ypZCY84rUl8dkmc9MU98M/s8UtkvOCgNt54IY41M3IO05PlwQVneXBzo1fCre4UH3mIyg2ncHrb+rP4UDoODU59hy0dYdP3GFuCyZF6skTuf0SilJKKQDhPOz1jjHGK2xCv1/WrGeirLuA3bwyqCRi+vEZO4c9dODOjGGqlVX+deis7tqfA68AjrHtxoZ98t9Zzi9SWypZs6iMLkyiW+PnIuK6sOew06aBVXLun2+crcm/XnDZBgbZNAE72/cgKcPzQvSypCS/8O7T1/cAaq/kJaED4GaLks89VWIVE0F2fUuay3PsZYy8nzlSvHnPLpwwBMLJI1NF2j+4RFZdJYFZiFjcuuxQxhlJKH1crgsGtIdV+kSkcN3hpNlYDz+ohXa5nj9v9n711+2kjz/eH6M0bqBasjpXfOIqEqMOKcUaTcBoGZOZqlcTybVNmhc84bBXe/onM6yaaD6Cg2mQW+0Ew8i9EE60gg/WaCQS2NWhEJdreQTdQjmw3CnUULvZG69e74LarKPK56Lt/nUmVD/JEeqZu4bgZMfer7ueT1+xsFY9tJkK70gyd6AATzqcgmRN68kDo/drLN+TkV09+gYX8A4b0YUOwX9mIchHSfREgDqlIK1f97WoEjtC45Qwmv60+lEeCgArE++4///oaHBKf/47+nZI6H80arkzuTyW383vDEyfsrJxPy+hc9k6UfDl9nH8Gmw+RKJAhUVhu5nl6SpJkxYVYyyeYFV+dvsnJQszaY33dVPcIyUmiVNUj9Pv2FgEZqnX/Ltjm9+D++zvRll3XYyOVaFxUQYOb9gKo6I0HCvu/dDyVY65VXNn2aAKtFmm3qI/euudvYU1+yTNrbHQyFTTyV1xpRq5Q0rTN1fUI5dqVXZLhS1MdFa426l1/yzZyy5423/eKPHkADkmCbCJfdCe+XZiTSNQ1ORqgdZWHjJIzgJI0P/bDhQavQeAUgo8vYbYt744FUKRUavj8mA9hwembLrvQWNwV2g7BcuMQ2weq7DUACrWn8tUif/cd/C3UjJgLy+TqL+AAMN22WnajjQnZcn2/nNQx/MCn0Bwr1k18TO412OoTp/cRVa0XmWkSxk6qMy/h8cVBBft1VS25wP3WvT5vFIKe//eQBhoJTcQGRP/dFhVcQsKeb+7HOApC5nIC/tmuBjiEqt27e6dqPIGHHTag9wVr73knxaQW1FgkZyly49GkEIpMWmQArk/Z2E7j3lbx+n3RMXpl12IFZSiTgBB8x+P3OG+9xydMD9AjzycgMRxXSXFdvsEAAVtAYHr77bzgpichTNKfwnub3xXbUBViltCz9Bp1RYDy8c5qG9wJ7CVvis0tDJHJ4c9ZoBiWBdkEJssKu/3fs/4lD9909eVW+yjSfr/NAgps0s+AlwDgfovM6mhxTmDSuV60VZcS3an6/VruFrWRaq5kvZchzGKD5dXeSlVVvrZGzDZYQQwi1h1iv0nqIeafAe/FbY4FKn+NmXz0s5gHUc/8hTn8dafArUlKy42Wl9tkKpiwf5wotsAVCVZ3RUqG5KkCAscFaS/nWz6fV50uDrxYJ6QO+cOHur6AyaWgPsBe2DFeh7Jnhca2IyqxDJITyk1+Cj5g3VCxvvB9MgnsAJ915Zj4VKc6nzs+h5HU+GVng7QPu5bXgoI/M/tG4NPvkwoW7v+ruXJsVvvFoFRrLJELaLDS6no628vWnKn2+nePkG7ut4l5PJCOnBViy5XT54uS66LYkWbBbj+St8InfG56wJ8Z6TEXQk1OLBK00AgXG2aQ+GJ8vqyM5cW94BjRtFnzvvNNd5OtlhPTepUyupCamKgKvnKkuVrq8zh2q1TsC/Ca5dQ5HPHEe3Jq1EXO7g3EhWHAC3N0XTPMN4wg4CUprj7AE2Oqrh8W8UEGCVfju+wVL+dYXnMFQ+15fLbqvoAmwc5y+qkU6q/AqETtfp0yHaTJpEaiYArOmtBsFPSYtsw6JBJNrkdjvATFVWzBRe6NgKO+tH4ACYpBVMtJ0O4AdeTNMFt1nBNj2XrhP3U78v/rIvWuyHyStQuNlK19/2iw07njlyM1C4479b8p9vtQqpbOE0lRWmkRiU58dkoYngrZ/g5gKjSFo8XvDEzhidzOtb8r03Goauxbp03//ryKk0kjTmJNX4XUzbRwl7pHDHGhBYqQJssh75e0FPtzOHninvW7KLOpLdGTSd5F9uNVI4Cqh9ZqVlSK+NrElHo8pd8aSaXwncVjYSVaeuFNZkuwYNyn2kuSatRFjTn6TlYp337TtdpKV+5Br2ItbMbVS51tjjWmzjEx/N+nHvzW2F7fm9uLWXGPaLNfj5mZ92iw6X4v1TYewhBzaTXA/7cgV9mOiFUa4aqCT/bb2VcmLyeeurM5IrMf4FPt7eXHhwt1f6SPp/3WseP8Lq0NKH+PqlEQhTk7JVUqa5oRbKfHSnpBgVdfMeD/gMui88Z4WXuWEe0lcM1lOPoBC2OQXHnj1+HZkwt8T7H99r68LhXFp9olf9pz+58WR9K9VHYM2DR7IncVQimYnStHscWkyK5WM6iO5s0ZV07DS6C4CDO39pRJlzz5F8em///cuLvmZp9pI0wIiwBQPtMy0WTRcDDiNWmnbCdC/uJOn9punN3Db2q9hh2LJeH/Xaia2pkR2/yQJdZggEc03ya1z5GCrjW3PPp4wfb2eIK2dVGWcVsmEI8w4qKw9Qn2+e/FbY/W42cQR2L34rTEez7F9juZCfdqUetgmix9fZxI4Hz7Lc99+87SnP6dL+dYXsgQsV2i9Ep3UopNg/L7FfLo4mTL1fehRLdJSofmONAE/q4BNe/0yaU1zCfS9a/rI7B9Fhzj2hJaPiFYYtUZB1SmFNRUFSrWZuRXSfcohkf4PGvZUFyhrdkitG3hlpz7j/cH95P29cOnTCOlDBY2Zl0ULFoolu4hVSij2C3sxd6m6vl6gFM02S9HscSmaPX4+mTl6Hs0KeUMTnhArV76c8FQeodNdQlUSNqQJHiAlToI9tUjvZBKfVQVe3Uzrm1SfLys8jLV/TygZD3DVRt6b7q7XwzpKqdNgkeTntZr5A5SkrtVu3eCUWPd1nyor1RmdGEMIsPvaN8mtc7C+4A3mTZXK2iNoyjM6HRb0E2/uxW8FkkwPRft1Nsv6HXQnv730/eYK+zEkvVioQSFXbI2LTn0JZBDbgy1KsPmmwIrqjICE3fH5Uj3QZxXuBJhKfEfS/0TvUy9cuPsrfCXSbFNkoAOf1OrEbnZNC7RO6YQEh1AXVKFLw5nVTsh+VFxz33YonwnwSJrnrUjMDrnqrjayPcMuEe7uCO4HED9kLs0q/eEKKNW5I6dmkdlWvv6UdA7NfGP3tMmln0ezcy759azmX6LPuG/uErNGFUa67EAHsly3m8QSJ6qzRtVLom+mjSMZX/Cn//7f5U///b8+F92+c873hmdkiSmrz1dZqjRFVk2DM4nC3oA7E6pObzC0n5Q1qeIkwD+RfL40rNfMMscxQPJtm1iboZKQnWRllUlQk5WOLBYigda0zlSZOPXlIcCNhDWksvZoL24xH4A14mZVna+4L4jw3cPXmZfeGiTn/3uSUO4CH/zElzacK7bGZUKqoIRS0+yUZZFj8U6BVdUZsQg7ieh/KNBHZv9I9/l2V3XSX+8SZr5p8FZ+eJQ1eaV5cG3vbAB1SngSHt/gpPQAACAASURBVIpNwnc9hGonlyx7SbFT9cSc8LoElxxKFs71fpCYt84PeQmuE4SFCbyKbGqapnVJn5OR5pdmpPNkCu0E7hd4wwa6pr+OnGTYSP+Pfmm2qF+aLQ4b6f8RnQoHMgHO139mEVfHgwwK12rmG7uQCXKvUZrKDj2fzBwRCLC7Nnn9wSwS7E53iZNLRzrtYvrTCxHSvqY/vRDBSqwFCZ1qQB8I+Ag8JaE5njbGRPYL+Z6IwpE6f3+4nfnBkTe7xJerm7SztrPfko4FIcBrVesX2WoihzwzJ8u+7eyE6rvd++oQ6tCmxbhwLIpM+YmmwUKw3P3Dpr8AAiw5ifWSUdb7opL8dk+eTSkLyVnDUr71lEIkwVWCooRUhrTmBGuReKasquqMiPvJN3c/NLkzCbhprjfd2b6PhXmEjZHZJiqVhgAvW/Z32aJwSF4lHOIb7hS4Iw0nVDt5Sb9Xns0M1MIEe5Gk44NapIDg9/5Gqi6hfXw7MoH+20Lq/JidEO0jxoFWwMiC9KFxEoKFnw57/RYQtPL1pyrJb7PQoD4dbRUay0Kp0vn6z/2eGl2azBYZ5BdZGa4OXposN542xmi1R96pJ9Hb6nhicdNhd8Lca8B8y7Dzdog+Xk4uTYDpMmsRsHqAPcFYWa88mrRfVjXRWtX6hTZpXauZL3HE1f866xGD/HY9OV6vWXdd0uzufx2XJh1SZzBkmouEYb13prpgAgwl2LQOYtW1R6xJbFDk94QEW0enPWlaFrlc6yJkugmVDAtOSnnWMu64Qj5dTNUQDSrrjFBS7+0OHkDTLo6kf217eWf/0OXztbuAmTJpFfVInQkkwOe7URyeCULuvFEwtp3wKBqxBuU2yIIUQlXJ6/ex54VMiNkEuPteaqOgxyjv50AGHQRsDy/W67vQLY2OFO3XE/qAkxEuAhIWyHIRu/YIF4wl46lg9gJDiS9jStssNO5Ip0r3MQn+S/TZGJz8nviDS5MZ8JPBxGeXhuw6Hn3zZlrfvDmrF92kZmLtkYcAOnVHRNJG+fc5zH6U1SbxAEJaWSnWibQxp0zu3HVceqq0KKB1LWh/MGYbrHSZRUxJkmQvGYUkNxOnzVXz+5PX3LqxXjW/x06hCQRd5D3lBcTPiwZVQQkwWmsEOQatBkmpFJkxgeUJuxpMg8XAI1WGSIah1URLheaqSMduZ2GCuURrkXglx8pqkWzC7vv6AGRAK5H0kfQ/3TAs9Ou8x7OJHb7Ltut1AYRc4aqEaLJq3mtTBSL59ciVmQTYuVbgFH1AgIOAd8qLX5Gjeev8kCONLp+GxGdNc2uPyB4JWjCW72na8N1/gx63VWi8FJ/41t/RfL6t4t64Up9xvs71RDgslKLZTV4C3FmTmaqIPxgFcarrIaeclT4nU+R7wxOaFmxtEhTkFGzb50sL7Uqk9ZjoeyCwyqKJ0Cg4a1q+d1KifT5iWl8pLaTKS2zXa9ZdQrURU468VjUT/u26O3+FQrmqFlHirQoQcurtCwZu03UT5fYKE15LJIIqa4/q09YRraaoHrcmwiK/J8usks7nLIKT/IJIImwKezLtFO7yzTd3sdckOn3mkB6HXWd0K1UdM1O1snm71rRu146ddWSmamXrdo34t8j8pBYxU7Uiup15u9Y0U7WiZVV9v3vIvjtL0zTNSlXnrNs1n6rROa+idbt2BNl/5zip6pyZqlXR45i3a5vm7Rr1wS4+5IpeieTdRmXAqwul1UYOaSRJmqkTZkoFU1CA+XrtqTGUAAPfpwEBDgrEqS5CgFFvryOF9lUg9fIacNAvzRZJ0mZNw3/A6CPpf+L+zd0GCm5Zcr7+cytfp/pzZIg1a9os/i6rx/NoNiZMfruJcFm0Pxg3AfZOfxMEGfXNtHFEm4a6qcZh1CZB4b0Wls93+tMLEdFaI+aaNaoMUi2UAu7CIbUkufMPh6+zj2DTYXIlEq2qaK1mHjhT4iybnJrMHmT3WGs18wAnrcaTZAgJDjYQizXNxZFTEQJcS27MEKbKVJKjOPiK+jOr8lhcxDxuNntdmRQWIGTVJsiwAKxcsTUOI4Pdct+ccE2SXzYsWotEItQy7x1mcadpm7drCzhi2kUeUzXf54JDWqnbeckz9jXIfqT3b1WHULJMuBbsQyhabo1vXZp94sik/0my+alCAJNfLLHbyg+PMiuEetCRW8nrRTYBtquL4AQY9J4OCHBQgE2Bzx/PJyNlt/5I0/xhWL28Bi8gtUc4X4Wbnocjz+6+9ZHZPxqXZp/Q/MGt4t44OJQqKJ8vFwHvn3RoQPAVnzRatDbJE+TklePSPMKJzy4NkWTUJ/3Cwdcm8cAlnTdn9SJNhk2+LrnlPW5QJBjXT+r6fDuvYfiDvfVJXqzVbt0QIZ2icmQaUV6rWY84a5OIAVoqQfPokshpNbWxzUuAfdslKwfermAvlNYexU3q38Ywpc8i53cWAJ+8YkgmYZKZgwZRYcimyhRncWk13IfLS7SXCs13PLVLmqZp1u1aDEAy3QnqDLLdBHS7W6nqGLId7jUdwuq+7laqOgbdPzoJdqbF7GvBEHqaNU+/NFu8OJL+NYQci1QikUCX/nIvYpUQiGT2iBSCp995vQglwPY1M7zUPZh2f1Cwq41Yk+DOmvO/PsLtKVq9fOPj8pUrF8tXrihPJMY9DfMGA+BI7sWR9K9J5FnTXFm1G6rlj6hH0crVLxLlyjahfUnz+e4X9mLSPl8O6bXa74AYKLVHsqv5PJrlJpLeACtUukyS6WqaLSvWNHvKi05K3elvmLVJUMTTxhi91igony9e7k18j5AHDSLX6SXAqM9X0+wuYOd1tFokZlAUKwwraDnyWtVMiMifaXJt1SDJk73TX8f/S+0LphHgnVRlfCdVeU8LvHLRSFhDagkmOXRKdciW+DrbcmgOkriMbpcrtJZJU2E++XH39sJSaFIgVhi1SIDJtXMe2HNkwbxd2+wihp/UIs7XZzAEeJO0HUp0veQYJZssYtrZvy299hFd85NahEZmPRLurvPybut9L3D3pq7P9+Q1LH/wrNIHW0oCrwhVQpomFKrVfwQYCQ9jEWBU9l2h9Q7njbdhX+eZhuPlnbG7e8/PPb4d6fyBxtcfQfqBz4Nu0Fcv3/j4xbVrX724eu3di2vXjz3rmxdXr3/+19/89iOZ69NHZv9A+kBAp7ZYmYkz2fU+gXMl0Lgnc/pI+p+0J22tXP2ikw69bE9zGZVGNOJ8hqfApansUEDkt6s2idcf7Mp9b6b1zh/dBClF2iGqibRRRifGrlc2njbGTlttUvze8EQQPt+bs0bTfaCAPSaDbKPfDx54p7vI18sI6b1L8Qp3yC9So0QKtmJWFQEXV1cwTYLNuQKtRaJJmmvWRuw7c2sU1BXMIMA8qMfNTYXTVerPqKpj2RJqc0Gmsokl0z7NgJJVN8F4Kd/6ApX94sgiFwHGTYHFZMVYb21OsBaJh6wCapFeifp+Nc1PSGn/Zt6uNZF/88mMSduikmMwAcYQWeJ5MfZPOi/ve+ElwKjPV9NsFaKmkRtOHPnzH3jefxqcVGYZ4vueVl3ElDvjCCSlniko0AjwRsHYRqfazAmwh8BjA78wVUkDSMCuPcJMepOR5rwViWmapn1pRiLdCdDsiTDk2C+uXfsEQ3oJ69pXokSYVXuEAjcpdiXSqK9iePjuv9Fk1ScR9nwF5F608vWnQcidm/nGbrPQuNOi+4jB3YdBoDSZKYdAgB1/cLYo6g/WNE1L3BueIclyvd5el/i628rWJjnkuxz0VNiuglLv86X5i3mrlESCwtpvnt7oljNnD7zT3sPtzE+apmloR7Ajk76L7OP7NkMSvW5XD8lPgYFy5PWaWRaRO9MX24csCp4uYOiSOR/VE1mav1ZVyFZ92jpCjyN6DaygrtMMniAnyjR1Gd0nZCLavbolxyIVQy7RxF5jCLVIBKK9D/VN08BDgGkklLUtbTszVau6k2fZY2P3j+ybToC7p7udr4/M/tG9v7XvT/FeYZXkV9Mkvb95duWjyP5ZSdVBgHyeus+yA5CMdxHgTu8wQqjDu7IPAP7OX3yasxt49fh2ZAIXduUJyAJNYV5cu/YVnPx2EeFPeK6RJAtxw630S+n/Qv27uA8Q97UuaJ5h0qRZxHvRKjReBUF8vanSVFk1RZIdNJzqo2ZYJPj5ZOZI2B+MmdK6JJc4Lf3s0pBsbRLaT8wKqpIBS34sPvWl9AiLSayFrh9Yg7TiJED/giY+eybFzFTo9ZqVVSCDpnYHryMdv4rXT0HLoHknvNSVrBywj0hGPW42FZJf6o2fsoqladM3WRGdLJ/VKTBgeslNFnnTkb1TZAkCfIyVZBead4Suq9B66d0XDe4DgqV862deny8NxAksRmocGAH2kF/S60Qnx9bt2hHqQybB22Bi33t2D3Y697TIfak+kv5nvyQ/eyeiNGwVjXN88med+3OeNoHm2QdkGl3J6/cB1+OTcNvvs37Qi+n2mYY91QVOdJ1AK1fWbHcFY6fGoO5fvsmvf/3t2jXwBILk/b04kv61/0PFngjj/Rbd02JyKp/tA8ZNnTmrk/ZVe3pJkmbqhLkPwrCeR7NzqoOwWP7gUjRL9OmR4CWJN9PGEUUqPKdp8rVJuOkoTUosCtUE+GZa3yR5diUl1jJhWL5qI1rQVft1Nsvapv3m6Q3csdar1ooE+SV6gNdqt27I+nxJhDvIyS8Kx9/7XgUBhnh8SWhMmzPqyK/lq1HxHS9hDclIlhtxssRalACf5UAsqR5eDFkUJNXLnfMR69ftTF1x1yhci8QxwXX8y8vMF0rCrTViEU0WASYBup0wAaacOy74ygtIDZI+MvsHW5lIz6ORBR8B1g9EQpsqNB+sl3BykFmbtNryYhUkGD/lNt5uFY1zGwU9xhGUdV/2XAYAgkvSbEVidshVt7zZSYuem09GZqCe3/KVKxdlyC/qD4Zeq+0BPiGkrn8XNx3WR9L/i5c2dwcIkGXVTmo0LlHa49sgIYjJL26SCwzVWoa+z0GjNJkthkiCj0vR7GZpcpHr6SlEItwJvgqoNulm2jiK3xueSNwbnlFJhFUEXtF6hBVJrIUJ8I+vMwkSoXWCsmy5sz0F9iVHY9d2lkJW+dKY16rWt2u1W1hCbe9PTciWb1XN72nHDQKQeiOA91cqLERpFRFmKkuCLVkWmwaTJNYy13KWa5FkSKcz8eyqKuQmnI4XOCdchdR1Pr6H1cKTbs5apCBh3a7FCNPTU0WAnW1pNUhH1u0a9e81aaBDuk8NCiBSlzfey5I6rA8WM1kG7auoj/vO26kokjxHNVVQg2TncDBvnR/yElwnCAsTeGVLmr0VR1+aEaE/ioSwq8BJsKadPEFzJ7G4SW9H3oydArvkdvaPWPLrEGuSNxhCgB1fbhChVl2yJob3t0syzfMeB43S5GKkFM1uhkqEJ7NcieYkYuuSU9enKlub5K1loh1TBRH2plHzTXzp8mxlE2YF4WCO1Pn7w+3MD440uhM4BZRKY6uUSFivWitrNfOALHWmE9/1qrWi3ueLnEPA5Jfk24ZUHNGkz9+ZW8JhISqriESnqHtxK8ZHXE2sAkvaW8xJ3kWutVfIiYdFYSeu0DRnVC4skQDt2yf2nASl1SrlzCIwP6lFcMQXm8LcYwLMdV2YlGp00STRw8N3/41EgvVLs8Ug5M44MKuJGGFNlbxehBBXrw8WN2mFnO9W0TjHIz3mAWPf4CVzDgNwwO/9jVRdQuvtAF5InR+zE6J9xJgp6fLixdXrn3MRXBBZ5vMEo/Al642k/1fT/H4LlACT/q2LWFNk16xzCrTmqLg33uLsEO43AuyiFM1OhO0PLk1mwDeCLoE96dI1mm6olaYpqE0ikFGXaGLJtYKQLCjp9l4T6diJe8MzqqqUbqYN7s8kKEg+X5xM+vB15iWaLH24nfnpx9cZol8XhePdvbtes+6yiKf9GjxxVkuAg+n/db/3tPRuaNVR99qQCgupT5sRZZPfuHUsSwohHcQ0ibWsjxnqA3bDtupxc/O0TI1FZdC0sChA+NSy+9pcsTUuKX3uPq9CE9uXHUYtkmqYqVrVQ3w7gVQyBFiWOKsg306VE3YabKZqTKuJPjL7B+PS7BP90mxx2Ej/T1jE1wWLmJKkxd5qI4i3lTJtrjC37aoWIk9qZQO0OLqKSTJx7O/tAAHA9vBivb4L3dJou8uX2AcM9Pxqmqb99Te//Uh0uvvi2vVdGkkWfR+8k1xatZExkj6+cOHur3CTYWPkpE+YVLnkDdLCwSGo4gQ3X//ZqVdSSZyXRd/fMNALfzBvbRIOxCkxoDZJ02hyZMp0GCHgoiDJrrFr1qgSfb5pYyyAKiXlgT2Hr7OPmD5fRO7sen69lUmH21mpMCYUa7VbN9ar5vdBE9+gpsD47z35RghMgpOVg5q1IR0WEmbtERSNhDVEPS/ClFaFj5kV3tU5lke2Dd2uV5AlnqSwqFxhP0aSFXtrgXKF1j6JYAv7dzHVQ7wBXTiyHjZ8xJCQmHwaCbCmaZplVYdI02DR9yxM0EKdfCFQRX0cX23EDq/ayg+P8k5tbYLu9/lSzplJplmAyLVlptgDKIJ3yktIcz6at84POdLoMi0cC4K/XbtW5iHAq5dvfAzddvXK9bj3eNDKJGiSs/uUjeW7IHmDIU/oWnYvsDRRbRYaq8oIcB+EYLFQmsoO9cQf3KPaJBJ5didppOkyLXGZ69wZtUQ2OSf7fFnbC01/FV2bC8cPDPL5ov5gTSPLpKFTYBrWa2Y5qCnvWu3WjXVPcrT7ddnz1jT6957V4byTrDwhBmMlKwe15IaSXux63JpQOf1VXSO0F7815p3o0iTWKnzMkAkwSWZdn7aOeCTUYUJFCFau2ML69lDyak+EcSnNZN+vfW4EIs1aBP+uaC2STJevDHhI7GkgwCLX0s+gel/zxtuNgh7bKA7PAPzCTAly51h54y1NWr2VHx6l+XwrtGAtSQ/uVn54lC+5ekB+ewbiVBchwG79kaZpmiOF9lUgQY714sqVy3zS5+ufu9tCJse4VOgXV68X/3btWhkl0iSwSbBNcIneCydtj5TS506WWRAhwM18YxcXcKWsO7iHNUi8cGqTQvUHh12bhNvOXR1vMWF7VYFYtHOgTWFJxF2K+FLItihQ+TJL7ox6fNuvsysMmfRd2nFpWA+w1mi9Zt31HMf3dVmQH9rwVXfVkhszO8nKE3fJ+HxxUFl7RPLkqkBj2pxxyS1JYt2ImwtKrgNAYFlEux43m/3oD5aWHxPIZi7XuogLyer8O9N7bBNmcZKOI9x8hHqp0HzXSx+wKAH2Sqdp25qpWhWyTxQ4XzJpH+btWhP3b9Br6Weo8r5Cg6hYRJkhQ35ysh/SpJa/Ssn3nkBJsP0aKe/xABKATYHPH88nI2U04dkbhgU5FlXCzJA0A/uCfX+EPD7hr1jnSAq2cqe3LGnz8PDdfyNu73QMs8BDgJuF+jtvn2/XvhRIofvV/8vC82g2FqYs2ukP5iZhQrVJhJRkdwJKJJmzRpV+Npzn7jnOzbS+SfT5pvWYKp8v9JiiOHydKYPIL9Lx66RCs2XShEokFoKQO69VrV/Wq9YK7ngqe35p33vVU3tZQLy2cNkwu/bIRSNhDe3Fb415F/Sc8V+3/bhqroXu5+Uh2vW4ual6Ki4DNhGFrOYdvmOyiWjntQ6R5p7cEvy7tKlz19S3h9JnFxhiOKFp7B5gXN2Qebs2o2kd7y369QXK8fAEGBPCZX5Si9xKVcd8X0fqjVDi7AZdEbZR+rc6SMh7X+U9sMCO3Y7Pl+pfVlBFhJ1Co8Q3319/9z5Y2NVGrElwZ835Xx9hfiN5O39Xr16dcrddvXzjY+h26DFXr16dwgdq0QOzLly4+yt9ZPYP+qXZohsu4AZbkaTNbrAVyRsMrT7SNCABdny+wP3tS5Hg4t6pjmV/Hs3OhSqLnsxUef3BPLVJtNqjk/2Rk6VVv783Z42mV56NIp42xgRDs5jvh+qeYxQ0Mnu4nfmh4/N98/QGWCb9OoP1Cx6+zryk+YODCLmi9QirBPFhDaYD2gl1m1M9zYeikbCGVNYe7cUt5nXsxa05yDHrcXOzMW2W9+LW3F7cirHIcX3ajKi6FlaCdSNhDfXbdJwXrjTYmXgGHhYFkSKjr5cg6cveYwNqkV71SvLsBW6SS1vudjhSSVhdD6mgBJhj/8eWVe087KH1AJNI+WmAsPdVUoJcKerjnMfu+HxpBFXZ+1LUxysF44lzrCcqOocHEMSXZiQyn4wszCcjC49vR7puHvH1R5B+YHb3L3ft0dXrRde/y+Eb/qb7mNeLtGnxiytXLvO8d7i+YFTafHEk/WuWNxiCVr7xBYOU7tMkyc1CY7WVr3fSKfcLe7Gz7P2FwPYHZ8ohE+Eyjz+YJg3uqk1iTYeJtUkGM1VSBMSJL7XCSXpR5bLTn16IOO9nOZE25kSIsjfACl3ua3hk0oevs9iJ6uF29gB5ra8uaa1m/qDc51s1uXzI60gqNe/7SK7NOiG58XvDE76HNorVChCorD1qxE3m+Yv2/OIIaj1ubnatEPuLZQLD6tPWEeRBQdBwJrLL9n+rI5v4Y8H2791O1L/LcQ77ONl0L2GlqnMEgsgMjiJti5Jfy9O5yyNFtm7XYgAy63s/WaT+NE1/XThET5oAQ/t8t4rGOVAPMYVkk+Xb+oFsIvQAfQas3DkZaaIe3y/NSKQ7AZo9EWYdFyhfJiyOba9eL3YfFzBpxgRnkUDy/rrSZrI32O4NhqKVq18U8eO28vWnqOe3WWh05CStQuNVEOT3tBFkxx8cam0Sjz+YVZtECM1iTocTaUNJ/RH4OkgVTPKLWKXkXj954sjfg+xOdh1P70r7dfZ7N80ZUodEmvracunsQft1Nnv4OvsIJcro65xAKmU+Xx5Zs9NLjCXfzteZ3cYucN8TV7FAqQILlQSrlAvb01/6hFYV+Q16sWTc6t43s9pP/uAgw6KgE2avdzhXaN4RIeakpGr3PNA+4n6EdbsWQ0jjkSsphpDVW6nqmCNX7tQNmbdrTTNVK6KTWeRYXF5cy6oOmala0eMJPjJTtTKty9e8XZvxkngzVataqaryFoOwsFEcnpEmwYzuYE1jhFjBjtEJneqSbw88uWcXdJlzZBOd5D6+HZnAhV15t2Eds3zlykVx8su3umTTOPkzZkFTol3YHuATGbQrbSZ5h91OYV7QeoC9nl9nwouXOTtkmUmqOclvs9C40znHHpPgv0SfjZUmMzPPo9m559HsHER+XJrMzIRdmyTiD/aCJW2mSKlD+aPq1jQpJ76UKiVNoxNf/8MCuPem/Tp7FyWwUKmzVybd2d+bpzdcEo0SXnS/qK94rWY9UuLzrZng6f9a1frW3gaeGs3aJ/HBzKy+wPx5UVDbBYHK2qPGNP39VjtpDpoA02uMVAaGQbuGw4Bo+jKJbLrgqSLCyaqFa5EwSdVL+dYX0Kn1AANAUMnr98XJKd0D7O0PliPBJz5fe5+DDt4zi3krEgOGXXXdbNhdwRjiDOz+5a09klnocRny5+MX1/Cp0VDYSc+2tPnChbu/kqk9woHmA24W6u+ahcYdJ+CK6u9FA6xA3uJCY5/m+W0V98ab+cau148sco0ycCuPqCR2MltkkeFSNLMQqiw6mt0U7Q/2hmWdTNLs6hiS1BT1BgeJRFDpzvfInhlxmbWYxxRCgB3vsE8qfPg6U8ZNjQ9fZ8o/vs4kcBLr9aq1IuvzhdYXrdfMMpT4egk2RFINfUCBW678PyiQ6ntEJ6a0gCflFUtBL8q1qAwMg0jGw4Yw2aTIiHnl1f4psNpapAEGUI2Ngh7jI6r6Kk1yTO4Plps0h/meDNBD2EQWKmuOHM1bka4PcEc+PTefjMxAPL+aJlJ7xOkT9kil3eNCKpO8E+POOdthXbvlK1fAARCk2iPj0qyUlEJVhRE6MWbsc5l2PoxeYeq2KiEQakUlnaWp7FAp5Nqk0mSWKwHQ8bRSyRxZchxOoFDis0tDSmXPjMlfQkJmLfpQwJFB0+qQfInK7dfZLDMd+s3TG+3t7LfeLuH1kzoibp8v1K/rTJmlqpUgJJhRm1XWNLJ/ndUPLIswp5hKvbkBL+b0V1XIFuOhQa8ACIviJps8E2BXnuw7L0CKM37xJVWfNhwu5u4cLi6ttp/ldtvPlt61n+WOu9fSu/az3O7h4tJqe3Hpi/afcqEFfR0u5u60n+WW7XPL7fvPDTm/Z0sv28+Wnv64mOu7ANL2s6WnzjUwa5qcZGY8cXWmrjTi63h0K0qJL+rzZUitBzgDeHw7MnHi/40czaciVSARrqL+YF684Kk9unZ91yau1z4RIcKolHn1yvU4hGx7z9eXNo0EcdGgj9y7hvP/QmuPSABObJmrWah3rhUXsEXqED7ZpttbzOtNVglJokonwtHsRClkf3BpchE02aJNz2i1SUETBy9UTIFZtUbxe8MTimTWQnJLT2iVvbazvkRlpxYJKpn+nnQ8nqms81qQN3etaiZUBmytVa1fWMckElxElh72gxyltUeMtOTTJH1uxC3q9FfptTghW3aatLmAl6Ob1UbcXAibKC8VmqtCUmiCpzZXbI0L7O9V1z4EvcCsKTCeNDIXY582WVK5z679/yl38fDZ0svDZ0s/Cxzn2CbEuUAeDPy4mBu3yazQeaGkeFnk+DLH9e7rcDF3x/se85xLpaiPuwsSMFUpGE+UyZ19xHvg8/1g4PHyzmmaU33E9PjiO4Ah4J3+otNYhwhzBGd19/u+uHb9G95t6NvRa5Nc2D5gWwqtj8z+kef9IkHVFBid0LoSZlaH8H5hL0bzImPWK9K+VKA0mamqkiHT0pmfR7NzIfmDQeSUVntEkkW7K4jaIxZEySmtSknT7Cm4jIwWdzzWtZCIuB1elSm3X2dXcL2+7e3st2CvMOL5xWG9ZpaBU1+qB2oAfgAAIABJREFU9xDFWtX6VhXx9U6eWcfGEVz0QQ1Ryg/4fvFCvL4Hv2hpxvVpM9JzQst3LcQHREqvZdos78VvjUE92PW4GepDPU2Dh1axJrcuRKTVKKHmJeVOyBWzNrG9mHulgix17VOMVC9Dvi/OtFeCXHYTYZUTV3ni271s8rkEqr50oYoAtxeXvuD9vovCDtJSVKnEKbUe4IzBL33uljfPJyMzPB3A0ONCPLgsL64ToMUks+iUFix/vnzjY8/5fs6aGOMk015cuHD3Vzydvyw0C407SgiwtxaJ0iHcytUv+ny+AnJrlShNZothy5ADOSayeLzA2C7de8MzVFlpSOFBvnOlpfqSiDxjGhtYnRJl0pxwptk8ydEkny9p6uuEYnUSoUn7pU2BoR5cTRP3+XIu6gQ6gagESF3OlN5opSFJKqeYLGKmNGQr4MVKflZ5Lbzfg14kRfPKlpG1TNjfF4L7e5UrtPa5yC8jlAtF25boKibAQgQM+765+HExNy5IrNlrcUkq1LP9LBeTmEZDiDDP91OaAJPIr2oCvJUfHhWuNWKsjYKxzdsvPMApx7x1fohMbiObX5qRjvxyPhUpioRkkcAz/fX6bb39vKtXr06RZdHd01mQ/NnTF8yTVC0TnCWKVqHxUtEUmPnBKSu7RuXWqlCazMwEKUOm1RSVJhcjpSD8wZweYBeJtB6zJ78n9TDYaqQedKiiUJXInAiuTok4Ie+8xxyTx8PX2UdMn2/HK5w9aL/O3iUlQuNAmwJDJr+Ol1jK58uxfmKdj6MS8P3euQ8kaKoH1r55oYoE04iZ6uCr+rR1VJ82i3txK1afNiP2McLxMfcyxIvlSQ4SvMSzswi1SOIBW16CS6hryjd3ccnPNLSf5WKChIn44Fv1/hxZcWAEU4YE08hiL0iwLAF25OXE91rkPcKhUtBXA5n45o33G0VyiOZpQM3aiFWTlYNacuNUX0fomE9GygCfb+cPCrsDOHIEkULzVR91S5GRbb/xEWM7oArd3ucTgUyMvZPcFxxeZZ5wLJVoMdKemcQ039ilpjvnG18ok1tTpsu8cAho0FLk4xKjpuh5NBsrKfIHP5/MHNEk2BB4U3EdwlC+mdY3eWp+ggI9tMuWvNKSfeNpYyyQOiUKAWZUKWEJwY+vMwmozxcNyaIlQpPeExKBpXlv12q3bqj0+aqaAmO/32l9E33YQJr6ByHrr0+bEZmpZlhVQfVp68j1y6II1ceskGjzXrv/usObBgunL3v8uwr251ndfmCbEIuHXakmjOoJdUCTX0kS3BZ/eCC6lgP5XqIEmOHf5nl/cAjM52uvU+3z/c7cGq2mNrarqcpxNVU53klVBqnVPCBWGOGILSJvpnQAg+RnYAKMCaLykVFPENVff/Pbj1x5tZfIguTPnmMypc+UaXPYEJkEu5VJpH1SO4QVyK1lodD3C12btGAqFf5g2sT5LAFHYEiSVxd2krQ6ny9rTX96IQKpUiJNHp0pLsTn+1LT4InQuGOt16wsmXD6e2fXq9ZKEHJnu/vXekTzEa/VzAPIzwjhvZ9z/43nYYQK1OPWBC/BY8mFVZJTHOFrJKwhlcnSNB+z2toj7vOa6z6XW2MOYd90p+BBIyecvoyvRVoqtF7KTn81zZ4mOz7lZdlrbBMTivnJmCgpJJ2bal8ta/F4ggOfSuMWI8Vacv/M7x30vfFio6DHgvP5GhWSz3eraJyzk6n1YsVOl36yUQinJYMHO8nKqkt80bWTrJxqUh865q3zQ7BJ8Pnj+WSk+fh2pHNz2kWgkxFwAAl8AgyUL1+99s73Wo+Hl7o9YeLc79JnHFr5xheQYKpmof6ulW8Qn2C2cvWLrULjlVLi2zmumglwkNJnGYmy3UGcKYtOmlW8N6cFrpQY4vNlBXpJrLKdHI0luWCJNWmyfvg685Iy9f3hxOcLTITGJEq7wE1zbULa3fW7XjW/D4L4rnuqlWiyalb/MKk262baOHKl0LjvGW4CXLIT3DtWBTthnd0DTsJe3JqDksrQao8wk197/yqTpcldvKqJNs/CTaXtVGjkNSHIo4VrkQqtfdL+RAK2vP5eXqkzDSIkkyTJVUmA23/KXQydYALTqNuC3mnZxZJCy167agK8VTTOBeXzreSNtySfb6Woj1OP2yfJ0DvJyv2dVOU9jvy6601yaxDixYuF1PkxjvqjTVfq7BJolBizIDKJ1TRNA9Qf7dKCqEDyZ4Q4g6XPmHN1sXr5xsflK1cuhi2NdsKxXjphVfutfP1n579f0ia+mub4fNWlS4MItwhCSmKmSpVp09q/RJ+NCUyowb9HZwGJe8MzN2f1IrPWKACf7820vuklS7KyapL81itndqa8dzWNMxHa3s7XJexivbsX+CcvIdU0TVurmQeqPb0kSTNjwsyUQROn/bNGFRf8hpvEl6KZBYbiQugJv0346OSSJRduTJszisgv9gGsOwVVN2Wl+Jh7WOFUj1sT3ddtxbCvI0jEVSJXaC0LkVVCCrNEwBZxsiwDp+dVCVEUJMDYhwVhT3+RxXyPezL9BZDQXh7bC2fqGojPt5LX72OPySK+vtWbbuCdVGW8mqwc0IjvYAqsAPNWJAZOfQYGXuHAJJdXr3/e9XqO1GicFBmY/vwNcjyw9NlLbu2+4GtfEQj7Ny+uXv8c0h8cNqDTY1n5czPf2JWdAj+PZud6SX69U1sacX0ezcaAZD30+o5+RyJtlJUT31mjSeqMlSXApF7l9uts1vX5uj5eaCL04XbmF4ckdwVi/fg6g012XquZL9erFpYkBzP59U9y10GhWnjS1vX9J0yBiQ8gPPL5v0SfjYF+hyU897SKHi8x80KFX7Y+bR2Rum+9U9AgSLb7HvSO/PrTtVmT6HrcbAbpDyYGT9EJsNpapEJzNYhrsxOW+YjQ4bMl7LW1xSajWDItSjIPF5dWne2FCDRgyhqT2a8z2d6XIKKqA8hODwHO41VZW0XjnCNxFtpvWMFZb5Jb51CfL5X4pipvd1KVQZK1Cvjrkcj+YJH9M+XIV693fnBXr16dApNfwjQWIn92p8ecIV1dZBsTxEWVW/cDEW4V98ZFa41kybDoVLjX018SgWX1B1O3p3iL+xG2auT83Hzq/Nx8MjKzkDqv7IZy+tMLEdUhVzSZtVpvMZ5cuz5fnkTo9nb2W9fz65JoNC2a5z1dq1mPVJPf9Zp1vFa1uiTZ0A5hSCewppF7f/3fW//77qsqm8zMaBrm80MwdR3FXtyKoYSWWXukqiuXMNEkTUGFF4Fka1pvK5y8/t5G3FzgIc+06xKFaI0RjbTykGqeaiMRqCJDIgTYJawoREi5lyBKEFVqponINXqJq1x6NLkbuJ8IsKZpmqrAq42CsU3r860UjCfSxwm4NmknWXkCJL7vd5KV++52teTGzE6q8jbIc/sg4NQkUVKfu1OieQGQGO/+7dq1MpxQ4qe/zrGY8meO8zp+cc3v+31x7dpXfOdKP+cw0FJXoSRBhPlIcMn284HIaGlyMaIimIpvZYjKiNJUdqiEq01ScAMeBhZS58fYmQGRIiQNnoYAJM9lksw6obhKiVSLxJkI/YMrkdY0so+YNAXGgT2RlSHBZoK3QxhKgDWN7v++mdY3Sd/bkieZHfm693dQmffeDYJiBS+pkD/TJNaKg6+IVg/lRJtrmV2ftY2ENaRiPyogXGNEqkUqtsZzjKol2YRnKNoA/yeN0CH7ESGHy/79CMmyfSRNdB+0MKz2Yu6VgvMSIuek90v2eoMjwPp9OWKqH0CJqTTZzhvvaSRbFN+ZW6NguXOq0rlv3ElVxndSlbeIFPq+6nP7IOHc9GJSn8Wmvy5WL9/4GODr5VlYaQxM/myHX4Gl1t60aK7JL5tMB40gfL4y/mCec4cETOG2C5MI2yE7GaJMxpFmNt3X8n7/woaTEcB4GCaWCu9FIm3MKSO+jlcUd5ygqpRuzhpNHCGDJEI7kuiON7b9OrvCkEn7PL442ARVasr7y3rVWlFLnNkSaO/3K+FWeaX1zcSsvkCrytI0TSN9LuC8+TznogIqPLOkROZQa496FXyFSdeWq6qyjmgJ17wQrjHKN6nBSrlCaxmdBi8Vmu+WCq2XS/mW0owNGg4Xl1YVEWBuIn24mPMRfBn/r+d8xMgeveZJ5GGB7/NI9NxoEu1+I8CapmmVvPFWyOfLGVK1URyeUTFpFrlGEt4kt86xQq7stbHthl29SW6d20lWKrjJsMpz++Axn4zMdPmDkxFpHTyXvJmxSEFTEPlz+cqViy+uXLksciw+yTR1fYM7f5VoFhp3Avf5ckmg+b3AEBJL2lYyoVlkNWlJs6XJzIxoCE8YgKlA1CpEVJBSkiRW04KrUoIkWVMToZGOXycVmimThk6A12tmWQVRXauZLxWSYK4uYBEQCTDHZ0ZQkJUNk4ip+BSUj2RrWm9rj7zSb3U+ZLOqyh8sXmOkPrxKJQQlucu+/aibJAuRTGUEmDplFeslxlyj6LkRH6j0JQEu6uOcU19hr7sQ2Q7QD8yUPScrB6jPl/X6nWQlkByADxrzycgCT+0RC2omwWQZ8Qu2/HlX00Ap09hjKZ5iB0KCW7n6xZ74fIlT34bQL6YjIWYTT4ak+Hk0GwuRBB+XJjNlmaCdXsB+4CVKfMVJsAIySiShQVUpkSqQcMBMdL/v+HztKfH3LOKLdgdDIEKAcfVJmsZMdubYP70GSQVwJJfwux96/Zi0b5bg/W1Mm2VlU1aKj1k10eY8L9/3S0Wg2Mn+6eFlUIjWGLn9vf0KkcohnHdXhLhiz0ciJMqzn74hmar2c9oIsKZpWgUQULVRMLZJiczOdPdkH3njLY6o8pNtvOxa9Dq9IBFanM8XKpNWdW4DBIi//ua3H/H7fTuE9CvSfu1EZvr2q1eux6HSZ5/vlyMt+sW168cwsqzWE9wsNFYDIbH5xi5aqQTpDm7mG7ut4p5weAA41dUmnVXq9JVRjxLEotUm9Rvs6a8KAnz+mKcmTXwCS/aCJu4NzwRVpcSS4XpxkgidPfD4fMtAf/Avh6+zj3iOyUmAsfVJnX0pkELz+H9Vo9QnHnzZ6SluSlmPWxMqiSZtEqqSaMuel9JJNCXtWgQ5wVqkXKG1rPI8VEMgddlHxESSm3Hnooqk9RPJVHiNp44AOynNRMJJmrpuFPRYpaAfUKTSb72kuVLQVxny6reshGpVU+CdVGUcM8WtdP87LBW6mtrY/s7cCr2yaQAJOJJoWP8ugCxCCCpYhu3x/QKrlbDTXeo1UnqFRRAAAd7fL+wRJVotTLBWs1B/x+ofhoCLADNubntVpeT0B/e1xM3FfDKyoGgKDPY5i3huaT5fb1esmomv0fRW7vDA4/PNQuqQeKe+KCAE2PX5QvYn2yW8VjXB4V0qUZpcjBAeTIX++yibAo2bUqr049anTeJDgaBqj+pxcxNZ+IkuhqCqum7UV9xIWEN78Vtje3FrzlkxVrAZCaprkfoBbe7p7ZLvvkaAVGE7gHtPgP3XJrtPhdd46giwpmGSmik+36388ChXny/SC7xVNM7hArE2CsY2GqhFD+hSNwX2ElxN6/h8V0HEN1k5qFkbp+L+cgACVq9enSJOZa9eewft0mWS6avXi1AJs9djzDuxXr1842PotqtXrsdVvp8qAq+ahfo7aGJzq9DY7/h8C41lVdchRICj+FCqnncJU0Ky+gngXnBFveFQwnozbRwl7uGfvCY+uzSUCKJDGODzhcLx+YJTob1+3/br7N3ubuDsAckTvF6zsoyJ7AFNkrxWM1+uVa1fkP3d7WfvLwm+WqRob0PoZKao9bjZRAmZUukzpVtY09TKjV1SiztefdqM1KfNYhfB9bxORZiYu/biVqwxbc7Qrq8+bR3Vp80iT31SrtC8c9amwG2BBGfMPpSQud4TYDLZU3JeApJzd9FqmvqZAGuapp1Mc/VVUuKyRH9w5eQ4KNnGT5jt6TJ5fyQ5tghQEowmOwPqkLiCwAY4BShfuXLRXSiJZAEifxb2/XIEZjlE+3N3W8jkWHUqdCvf+EIqrIqTxLaKe+OtQkN5F6EoAUZWJ5SKRIAdsuxLiVW8QvccikKdF/j8MaQeCdL7mpg1qrRao6B8vqRjigDi9T3czvzklTu33zy9QSLOh9uZn3DHWqvduiHix12vWiuo53etZr48+Tfz+1NFfgn5Ab20JTQS1pD89NKsqiaktNojFfVN3YSSPGlG4U5i0a8p61JGiX8A565pfLVIS4XmuzBTnUVwuJi7w0uI0Logke5eUqLxWSfAIu91kOeGWftt+4FIrP2nHDaMVgSVoj5OqjXayg+PUuXOoEnwiSTaCcQiEkhmYFYengMCAbQH2A27clOhO9s6HuEBMf5Awe3P5SCjzMkyRdIM7AumViGIoDOV5VuvWrm6sg80WYBDsBjTYE2je4A1zQ7LCao2ieZN7kfga9C6prtNOy06Ug1jCozdJq3HgvD50qqUZOAQWaz02fb5ZnyfO0CfMFbGvE7vAb7ree1dkszZJcssUt1P5FfT+m/660K1b1eaBIZae2RW5d47ySAxRe8XRBrt9Pie6qmvFwJEKYZsGxPYflnReShfCt+jrv05Dwr2++nc3HX4bOlnXC1V0FBRYYRKq2ke3o2CHoN0BquuRMJVG+F8vmgqdM3aiJFqlAaJ0B8YuEgqhx+Xt/N39erVKXdb0FTaWarfj/3CXkyVz7eXkCaljvS4hAvD6bxmsXNDE4BUmpis2q+we4Cx3t7NhdT5LnI4n4yUZb3A059eiNDILEpIA/P5UqqUXDhSa+EJIpbQbme/9b6Oxyfcfp39Hncshg/4p7Wa9Wi9aq2w/L1ogBXIW1wzD0ieX7uf2Czb02SzvFazuMK9eNBv018Ue3Er1msid0LoyAnIjbi5oOw4DJk1C/304MCRRTNJMKMW6VUu1+qbh80Q8Ff8LD092VaAABP6dntNfmkkU+795ZeZh0mA25hKqqBhT34Vkd9uH28XQdwqGuf4fMWG0t7dN8mtczS5cy250UXaa9ZGDDApvq/yHAfoU/AQTdrCdQtz1x5dvV50/cocvuFg6pAYKc12Ny/M59sr4CY5ItJjmszZG4rjTJ7JhJlnnbI6JBddxDYZac5bEewfvy/NSIQ2BfYSZhJoJNj14gZBfJ3FJEaJtDF3cn50okyD2/fryJq7JrE/vs4knLRoCPElEmgXqiqM0IkxfZ/4RF1nwvwDPiDL+kU1EcY9xOqH6S8KO2RJ5XRVaJoZXu0RocYJCuU+ZAUkGHLemFqk/X7v/SWhvZh7xUmYlk+2FeoSxr5PvSa/Kglw+0+5i4eLS6siCdmhEuDF3CtV18wDLlIqMA12PMXMGibcUn2tOBk0Sc4M8QrvpCrvUan0AGcEXqKqRv7sT5gGypdJ+4Nve/V6ILUcTlURiQAvB3FM1ZCRQaPSY8aUGHvj7niQm+IEOAOSAPcj7FqkyNF86jyVHLIIMGt7L27O6sWASC5ulVk+30Raj92cNZpeQs5zTSgOX2cfoanQLty6JIhPuP06m3WnyQ6RFpkC86yfTvbpD9gidQjTiC+GCBOJPC+wqpE+DKGrT5sRHlmvasJMm2KqlRvLSZ9V1h7Z76G5sBe35hR0MzOzO5byraduynO/+3xZaD9bespJnHZPthWYbhL8pb0mvyoIcPtZLnb4bOllmOcmt9+TaX5YoNcj9XjljbdBXHPHy5usVFDy6k16pgRjraKy6J1UJfTKvwEChFtj9Ldr18ovrly5/OLKlcvcU1rPwvl+y1euXFQxVYYsVDatGq1CY9nXzdtHPl9Ns4km7d+FOnwRUgsi0YgM2nf8ycwMrxS73yZOQYEugT5/PJ+McAe8JT67NBRUl28iTa9ScmFPpPVNmakxFO03T2/A+oBPfqYPX2deQrzA6qbAJzf7CKnFdgiv1W7dWKta3wocR9o3TLAw9HUI3V7citHIGELaYgrJL/HGKMx+YRbUBIch76NHhi2bpg25ttPk86WhzS9j3ke2lU6RRvZ1agmwMwnf78W5Se43dNVCpaiPS0137cluRTo8C78q7Cvgh+Pr7fh8bWm0nRLtSppxcumdVKVDyNEKpZ1URalUe4Ae44UKr2/X9BXfw8tbeySzgn7P7F7e+rt+9Pk+j2ZjrleWJhfmTmpG9gVJk7bToCkkmFMWfVq6f0XhTIjpIViOb5h33wDyKe7zJVQpoQBPoSVSon98nUm4k1tm2BUic7brlPwy6cPtzC+446zVrEcqCLCvFonQIbxeM8uipBs9hihwD6pOy++i3UVrxZAu2jmUYKmSAbPkuyrlxjzJydhzUVp75Cersh3Hstd32iBKxg4Xl1Y5J47Ku3Z7SYBt4svroR4QYH5iiq81cqbJQlJn3KIFaeHA+3pN07TvzK1RzzT3vaZp2k6qMk7y++Jk1AMZ9BkBbyAVZGF9v9y1RzIT6GtfBf2+9dvEF0VpMlP23KwSJ2tQAurdR2kyM8MxOaZ+UHnPl7APKclfv+JLMxKZtyIx5tRXkgAHIoOe1Zly9G6fL0xCLfI+ehKhs+3X2RVWH3D7zdMb7e3st9Qp8esMtjZEcBrLJVN2iDYteZp70swLwvT31IXQ4aBSBkzz46qWG8tdsxw59Vwz9udKtuZJ9hpPG9qc00tku11OwkVsxug1+eUhwGES3yAJMPwnRC24Jr55/T5lP09Ukd9KQT+Anr+dYG1PoHlJMNoPjEqavzO3RjFfH0cnv+j6ztxS1lk8QI/w19/89iNZqTOGfPp8v5rGPWXetbt+r30icn5uYNaHCtxk9/lk5og0tWHJoXHSY+5k58lMlSTLLkWzE6ztg649srt6I0dOFRFs2aR1Dr4iRWR7wKSXSICFJiSq5M830/oma1Ibvzc84fX5QpdIZRJKZA+3Mz8502BivdHh60wZkgpNmgJrmqax0p6Z5Ldm/oBLd16rmgmozxe4sN3G3deC7zGGPiCDfp/6BUplwGHWHskHX6nzIRMSqFVMuyGJ0GcFAr7VmKbxE2BSB7Czr1NBgHmveUCA/WD28Tp+3K2igZ1yogRU1XK7hKnnXdTHfQFenMnRJJ8v7t/clGhvLdJAAn1GsHr5xsdKZcmE4Cne6S/q33WIMEdwVvDT336HCBGlhVPhiLOQhziaPS5NZoteWbbvJnsyU+5KqiYEaqnAQur8GLOjt98WIT2ahUTamJP2+d4bJla8aJrtNZaVWt+cNbj9pU5wFTq5LWM8vXedOqSfoGnQ7TdPscTQheAk+CdSSrOqybKfbOMJrqadBHvhzon0mXDaCbCm2ZNKFeSU5llVKTdmEW0WVPqd9+IWVlWk6hjoe4rK2OvTZrE+bRYdOXtMpgaqX8Cd5uxUGbX5fa/LxHPocyLX/lPuolSqs1hi9pkkwOwOYPw0FktAZVfeeL9RYDdAVAr6KmU/2FRnHDAy58qb5NY5ggT6iab5JdDe+qQBTjkcgirrAybWDr24er0I3Q8uPEvTOgFa38hMfx8axkePRvXPH4wa5QejRvnhiPHVg1H9sor3sJ8AumnFEFF7Ww+xJUiPoZMhChEvP49m54jy56nskEPKqT5mUTh+282ek1mBJXPdIlNZtzKJte/ErL6gTF4N8BWj8Hp+D7czPzlf95JgQCp09sBbp0TDup3iDJEq/7ROCKWS8fkCl+961mtW1nNM36QY+vvM873qN8h089Jqj+rTZkTZtJVBtCEIY+KtzutsLthSarPKfO20WZZ9b3qJHxdz4yJElp90kVOH+53ItWUmvycPDAYE2AFtgrtRMLbR19peXyoBFSW/xCnzyXkaT5zwLfoEmbEfF13+32SlE7q1k6zcp9UlVZOVg2qycuBNjh6gT7FVNM5V8vp95wf3CeQpi6jk+MXVa+9WL9/4mLxf+L58dUxXrnQR1NWrV6fI54iXX2uapj0cMT55OGocY9eIsftgRA8sNTpsQMmpI4v2ERs0nIoiW1bT6Us6N4pvWQV6TWLFl5j82UX83vAE3zRWZx4viHRp3lokr+QZTXdm+XxRuTOuTgmKtZr1aK1qfWtXGJkHdh+v+YP9NfzEd71m3VXj84UT4HVqlZK4X/g0o5GwhoTkwZQJpFK5MaAeiAaVPuS9uIW9l1A5YRYi5qc4PIuP0Nn9sQKki3gP2M9ETuABge9hQVDX2M/vGw1b+eFRGrHcKA7POCFXIAIqsKhT242CHuOUWYMSpLs8vcnKgePzrWCl0QgBHnh+TxE2isMz+B9afJqbF3x9u3Tyy1d91C1fRrb9xkeM/eFdxICHR6P650Ty202Ev3loGH0bbgUFV0CVvZpYmTMtQTpgAlwKOGhnPhlZ6D2Z5Sa/R/PWeelpOESifDOtb05/eoHqw4unjTFRny9LAp1Isx/YeYHKoA+3Mz85Pl+Q3BklzGFgrXbrhmKfL10CXTUTkColFanRKJze9OVmvrHrrlahsdyvIYL1uDUBn2KaxBA45WRQQurbSFhDykgmdeKttlNZ8Pyap9E/3OabcO4623ARrh8Xc+OU4ysjcgGQTP6+42e5Y2/q9YAAd4NFgoNYGwVjm+b33coPjwrLrIs68efbBa7uiLTQ6iTvPmrJjZmdZOXJQA7dZ2Dr+20izPphAXpvd2nkV9M4CDCmOskny756vYhKnO0QL1teTer9fWgYF0Hkt4sI68WHhnGqgrRK0cyCm7YM6uglyJK5jneKCbCmaZodetVrUsuxBL2/Xkx/eiEiQz4Tn10aSqSNsnLiC5Rak+B4fLnkzu3X2e9ZPl/VWKuZLwMhulXze3cKjZvsQiXWtGRqHjQLjVW0L927mvnGbj/WyGmaPTGlEbowa49IflsoZHt5u88FLzVWmqgtS4KnraPTRoJ5Ko0cL2xMJeHqcwIsKn9eDuoag9xn2Kjk9WJAvb6o3Pk9a/hmn4fMcWBJ0jupShFAft96t3uT3DqHS4XeSVVWo3adAAAgAElEQVTeD6TRfYCt/PAo7w8LSzvvkMzPPf7bb2hyYxTwCXD3/lavXI+TiLLvtRQS/mDUKHMT4JOJMOgae42uTl6HxHaFSMFlx+BfYqRr+PQSYCsS6zmphS+lknCvXxfs85UM0qKsskwHsAuo59eZDIN9virgkFPlPl9nktx1LQpk1VLvTavQ2KeR39NChEkhViQZsKad3dojksRYZaK2snOVDAwLG4eLuTucBIqLAB8+W/qZdvw+J8D7gvuMqTivs06AXQQSclUwjit5uo2qktfvK5tEU2qbUOykKm95yC+uC5iUGj1Aj8Dzw7tRHJ5BSrHBKWq8sCfJAtNfthd5lzT1dfHQMD4SJr/OejBivOt3f7BXjuxWHj2fzByByS+m6ghwXFBCbNDTaBnI1RGFJXtWM/n1wvXt3pzViyzymUjrMdU+30TaOE7MGlVS7ZFbpcRKnvbCCbGi+XxX2HtRi/Wq+X0AU19KqJYcAV6rmT+IXmur0HgJJb+e9aofpdH1aTPS7ec1iZ3kqskgjWiDzl3RJJpGxJUmXU9bR3txK+ZI0aU81LKT8zDR/lPuIieB4pUFEy1imtb3BFhof17J94AAkxFEyBVL7mzzD8WTZ45aJF8ncLJy4CWxteTGjLcGiUKc379JboHCuAZQDMew3kVwnSAsn6zATXnr/uHTDyBdXCLwSZl9BPj6512v50iNpgZficifSUR41Cj3oz+YNonlIcClaIboZyOhNLkY4TtGMNNoGSykzo/1nuQSVjJSVuH5JSF+b3iC1bk7/emFiGytEVnujJdae6uUhGqRPJPgw+3ML2H7fDXN7vRVMI31+XRJYVWKvcXcgWD7hb2YIPlF17L0Gx8AbGJmNsOqPaIRbQjsFGVlRJxQe6RywuyXLsuQYNnpedjgrPnhkwU7wVkknEUCHOQ1BrnPXkAtAdYPaKG7W0XjXCCTZpfHABOhNc0Ot3JIbtfDkp1UZZw2JSaS4GRlVeb7MIAgfN7fvPHWJbR2ohryb0V93E6IFn96wgOinBnx9nZee/XqFE8AF+24KgkwIov+qp/8waqmsKS0Z+bxJxcjpclMVSn5FZhGy2A+GSn3nOyiE99UpBgk8YUiQLkzcTJDqVLinua03zy90X6dzcokO8tCueS5an5P6vQNoErJV4vEQrNQf6eAAB83C/V3rXzjC/nvQHhQSQZt0tn/tUegmiLwcSyf0kNWTi47QQ8T7cXcKxlCxVjL1GMPCPAHTYA1TdOkZcj29lQ1aaVgPAmE+AKODQXEI4xOjL3yaBXnMAAniD9Yeb3Y/bRFX9U0yg87Q68vCuYU+Nr13b9du1aGT37p019NC4gAO7LofvAHP49m51SRTtlzURmKFXQFkhd2JzBzGttcSJ0fW0idH3t8OzIxnzo/11nJyILdKexdILK7OZ+KFOeTkZkvzQgzuMU+dqTY2X8y0pxPRTbnk5EZlaQ5mKmvvkmSWrOqlHhrkVTAW5Gwk6q85alDWK+ZZWVT35p5sE7w5a4HV6X0E4ls49Aq7o2rIL+nxR/shVIyKFnpI9NtDCGmmqY46ZpQ8yR9HZL1UWGiLZx2DFnkDmDn2AMC/KETYClyqq/SJq/kZholU19lU1dcyBVB7lwkbUNKjx4gQPimvISnJFtF45wjl66QJARBnN/q5RsfC3UMUwgz7XgPDeMjFR5gxjS4Z/3BwknPARFgTeuEccnVI01mpGR/onDILJWwLqTOS01khM/NOj/kkGx2anUywi1l9yKhOOH55qzRJPp8OaqUIJ3EKmBXJXj8QchTX+h+VJBSZ6KLnWAHVaVEk1jT0Co0llUTYGS97Ed/sIv6tBlRNnGdto4+pNojur9Y7hi08+83tAWSnTkW9SFSWzxpWQnRpIV0DQhweOD15G4UjG1ao4ytNjXeBkF8WR5jXtSSGzMcUufKTqoyXk1WDmj9wQOECOYTlrzxHv1hJZnQgzo/LnkzY3l7gVE8GtU/fzBivHtwaTj+cMT4xlNvdPHhiPGV0onwqFF+oOvUOijVKE1myop9t1xBQzQ4vmR+aXaPyK8Le5pKnwKHej7W+SF72svtHW5Cpsk4JNJ6TKnP9x6++kC0SonVTSwLSNrjTrJyH7IveTJKJqFBVSnJVCA5Hb9BEeDjVr7+c7/6g12o8ADLhjfJhkd1LQIRV5l0TZIpq5gwnyYCrGlyhIq2aB3AznF7SoDblJCuAQEOD6BBmsMlaLVG9CGb9MSX6jEWBar28q+N7Zq1EYOQ40ElUo8A/uEtGBVUruANwwryHNVMgqnBV11T3wcjxrvO/yPe3YeG8dHDEb2oeCIciiy6q/ZI1QqAfD6PZufAIVk9Jr+aBqxFSkZCibq3J75yXmIREpyYNapKCPCsTpxEJyS8xTfTeiA3tFxpj8lKBbJPCbnzD0Sfb9VaCapKaa1qJmTew8AJMOIPbhYad2TONUj4U6O5CJvUQ7Z63JpQRn7jJvZ3OLQJs4IE69NHgJfeBUGAWcc9fLb0ckCABwRY00BtMmyfbxByZ4U+Xxywqi9PMjTLH7yTqgSSozQAEI7kAPrD98T/enV6ehL++pvffsTv9+2Q369o+6b1/uLkys5E+BuFJPiboKfBqkOnEBIaiF+KRYTD9vzSwPbuRgL1os4nIzMgqXNAJFiFz5c0pVVXpaTu6e935tYob9ojNOlRxHO7TvH5Oj5g1VPfn9Zq1iMV72Wr0HgVBgFG/cGt4l7f+q2cKh8uEncaao8a02ZZGQH2pD67UDdhxpP4foUMESUtVgewpmla+9nSUxVEri0u414mn5vYeQ1qkMSwlR8ehQzOvLCDeBXXGiG8hCfdWQReAoz6fDXNVodpmqbRHpRD1WEDKIIz9X3ilSPg6o8gi/RD5gQFzc0nI+X5ZGRBhR/SkUSzwrHAoVcPRvXLolPaB5eG413TYsmQrKBIcGkyMxMI+T1ZTdFEaOa5R7MTz6PZudJkpuysmdJUtudpxyhgtUgR5V7UhdT5MaYEW4wEc03WpXy+hL7eeNoYUzZZTovVIuEA9vz40h43tiFTYChhXatav6xXLWw38Vrt1o0gOoRFfb40tPL1p2ES4JOJcKOvqyf24tYcxMsqO61UKUtuTJtYpYva2iNy0Jc6fzGeYPcrZIgoZVHzUjRN035czI1L7L/z0Ka9uPSFEElfzBEVHaLnhe5Tgpj3BQFuFhqrrXz951a+Tg0zU4Uu/pA33tJ8vlv54dGgao1YHmOV8E53O19PVp64pHcnVRkn3Teg5PdNcuvcoBM4QGwU9Bh+0nvypETgBxMrLyDLMSObol5DFKtXr04Ru3+vXnv34ur1z//6m98yq4cejhi74PCqUf0ybh+PRvXPVZFg2fcFh6B6d/3T4GwogUP9CIjvVsXPvaZ1fL6AxGiJxRGMJeTzJVQUJT67NHRzVi+qIr7oYvUXs2AHXTGTHt+jgRbeP5Csp73rNSsLkB4f0GqNApj4Hq9VrW950p1ZsCuL6k9bufpFnG+3mW/sOv7dYP3BId0ciqCRsIZY/mBZshZG7VEoE2ZFCdaycvJeQJaoYRejA9gFZw+xb//tP+Uuiki4WRNq4fN6lttH9iE1Wad8vwInwN7P1Wah/i6MZPxKQT+o5PX7jNco7A/uljvTPMZBwHtPsJOqvPVNe50QzC7VWLJy4CY/76Qq492T5I1tnuaIAQDwdf5iSHDX6wt6jCVN2CgY27hjzaciVdYN9uPbEWUBSuUrVy66a/XyDfAU9eGI8YlIeBWu0/ehYXxEk1L30hPM5auVXM8nM0elyUyoH0L9AIeUMmTIEWlv2TwgeVrZAlYkJfiCqcrEWqO0MadG7gw/JgvfmVuj7uSWFXaFypx3UpVxnEwa4vdhTYFx26zXrGxAPl9ilZIoWoXGS1SS7PMBI8nNrUJjOWgiHNbNoSj24rfGcP5g2dojFeFb7iL1DzemzRl1x8AHfan0F5Om2Iz3MVKPWxN7cWvOXfb/y3Uy80A5AWZ0ACPHDbCGSfz82hIBXapWEN8r6M8DKVuhmW/s9ioZvxKUz5cyiAsDkBqknWTlvnNP0HlA/ia5dY4YosXRHDEAA066GvXJCWlb4g8toft3PhkpQ3yGwV0tHDLy5Uej+ue4fTr+YNhUmUCwg7jW0lR2qDSZLYYyCXYCqoKSRfcrIORU9MGPHbalyucLlkKDbrAhKdA308YRSe6cSOsxaK0Rt8RaYur7Jrl1zn2a68iZ75PSHt0nts4fNeofRK9PyIu1qplgkNkOIQ3K50urUpIBq/e3mW9gpZcoaQ7UH9zHtUl7cSvmTmxp01AI6tNmRCFpJP7NCmnCrCTBmuc9tUm3uQCbbpvVxrQ5I1NTxUL7WW5fKYFbXPoCemyJaavQgviTg/BFnxYCvF/Yi7HVLw3w91cWkGGaxKJ6jMMCrtqI9uBbZXPEAAxU2NHiXU9PXBk02pfl+oYref0+0fObjMwA5ZU9nxCqqDVya5MI+/9EiGCPGN8Eed1Kenc5ZdH95tkNEqprkWx/MVtRIUhw2fsFToFZBBYXchVPG2M30/qmcuJLqVLiQReRTVYOvjO3Rml/pFDfj2zqI40Eu17cgAKujlX7fFEwU5/z9Z9JIVWt4t54SKnRy0Fdvwq4U0aZfYRRe6RKlmwTYAv78Eylvxj6nspcVz1ubgYxGQ6A8IEVEe3Qp8BLTNuCqK/4LBDgZqH+jvkZV9wbbxX3xoNUvmwVjXNB+XxZHuOw8Z25NUomwRvbrtyZpzmimtroKGxdRZm7nwGA8E5/XY18pWA8caTPvlG754cWJC2ASUDJBMAJ9JlREZQFgarwKtcf/NAwsJMDXqId1ATYi+fRbCxMWXQ/pTYHice3IxMqHgAJ9/kCJ7susf3SjESov7fAh1XxtDEG9d8G6fOlVSnxwpfwaBPcoofM2gEXjCfAqEyaJ+hirWp9GwzJxayq+b1Kn68XrXzjC6g3l1ZZ1Cw07oBu8mRWvv5zmFOSMKGiK5dFGk9T7VEjDpv+OlVVao6nmAirJqECxw9Hcgz0JtveYmmiLVUvRXmvAvu+tAqNZYjlA/P5+UplOr5ooC6A+L5neYx7iZ1k5b4ta97Y3klWVlGfL29zRDW1se2TSQ+k0Xzw9fzmjbfuZHeraJxDp7zY11PkziiwN+vJSNN7c+0luPNWJIafmp3cpAcFFVPgbiKsF3H+4Ae6/jHUH0ySVvOiFM2CpLbPo9m50KbB0WzzeTTbt147VSAHVEWO5q0I8/rnU+fnApE7JyNl3O8UnWjDfctUKfSsUY3fG54IivjeTOuboj5fEnwypZMwiyLfH7JOOIbQDYad6hxMl6+ziFVKKiFAWl/RJMmtEPzBrUJjv5/9wSIIgzSGMmFW6C9meX/r02ZElZy7+z2U83G7aCsNwloSCuNsq5Zh+9c++yyQ81nMvZIj23JTZMr7FBwBlv08VPTQLxACDOAh/QaIJQq9v+hqjrCDsnzT4oE0mgMnk17YDxNRq8+QG/hv2E98vic9pSc30zBpZ+RoPnU+0MkhDznlmAgTa5OYE2BFVUjPJzNH0EAq2x+cKYdIhDdLk4unqmqCB/ZU1ffzzPw5fnw7MhFIrVEy0qQpK1iJ0jzXHk8bY0H4eak+X4K3uHNO94YnEmljLpE25kh9wzh4Jc9d6c7AP2o7qcr7WnJDSo69VjUTazXzh0B8voQqJdWATCaIk1iKJNlJOw3eH9zntUlQqKw9IvUP1+PWhDqSSO7kDcNfbB8nGPJ7QoKtI5LEGwqlBBg4ZSWcR1CTYC7yq2n2FFjCn7zrXM+pIcDAz8FXzUJjlfoaRTkIqgKvNgrGdj/4fHlRszZiUEuU596CHrYJsFAN4AA70aXICch+YZ14A4CXfZKDrsgVSfJTKFE8GNUvy4RXYf3BI/qU9zjUyqQR4ysV11KKZha8k1dIIJXjD26G6Q9Wcb39iJOpamQTomSAhcdxS52PaBJmcJ2SgBKjQzoVdvn6fL6EKiVN60iysenUENLsoksGnawc7CQrTzjkzj77iCOFKjoSqfsQOXQQMui1mvkScv0q0MrVL8pOJmzZHlkWvV/YiwXpD6Yd+7TArlVSReRMYlf4aao9sok8WYqs9j1jnQe/r/vHxdz44WLujlriyfbY0tB+tvRUZTDW4eKS8MOnHxdz4wLn0iHbp4UAs8IFXTWL+3rGZ6WSvw2VvH5fjvzqBxsF/VSqbyCVia4lyt3GX4c0CMhSAvaTGP0AnfBWivq4dxJMqjzSNFr6baSKTp7Icuf+IMGaJhFeRQm1QvuDiSRbUfhVaSo7RJ28AgKpSpOZmYE/WB4QPzvTgys+9aV6YU9UGex9ifjyg/T53pwlS6F4grVo+3Fh/1HilDsnKxUvsSX9cYNOiFXJn9dq5g9B+nxxUDmhZSU1t/KNL1T7g0nJ1KcNYdQeqZwwk2TJKhOsaf5iTdO0RtyshkF+T0g/WxKtjugS1p9ySiaA7WdLT2V8tIfPll7+uJhT4ksFh4R5pt+nhQCDHv45Hl9s93pAn3eVvPFWyOfbw1ojFWCnPHd3/XLJpK2NU/lQoGdgdwB3VlekOEqC6QSYMUVSJesE+CdV4KFhfKTeH2zsksmvOm9DCZDwDCWcmElyoP7gD642yYrEApj6UifOIqnSIgQ4CPJ7M61v0mqNErP6Avd+Zw3iJMsF2POLlNt7wZoas0jwes0sy/p812rWI/Z3Ti1AlRxiE1nqVKglKrnGrT6uRoJCZVoyjaSFNGEO3F+saWqnzCpJcMAEmFtqzMKPi7lxZyr8sv0st4ufyC69az/L7R4uLq3yVDDxwA7GWnrqP4eld865nUpi0Sw07gA+xzpTXdYDSaUEuKiPc059z4TVhEiAHZ8v+joRmfQAnNgo6DGwJj+vF32vpxjQ+SXN4jf3Yb5nDw3jonJ/cDch/oqUHi0CR8LMM3llfuA7E+XwapOAU+rTDuWT32SkSesYnrfOD4nKrL80I0J+bUemrMTnm0jTpVCSUmtm8jotwdH543Sftn3N2oix/sCx5NBOWBW/zzfAWiMWWoXGfhAEuFVoOEnNdaJc05l0vAqSaJ8WqJpk1qetIxJpDGPCHJa/WOUDA9UkOEgCfLiYO/VS/w8NTMVLvt7pTYZ1BJM/U0VAtlV6fL6eQN7TDNzfe5TA1qyNWFDNER80tvLDo5W8XnRJrPffRdPZcCZ094Y7mElW7wmwiwcj+pTq2iScP1gWJRH/7mSmCpm8lqLZCaH9C6+MsjqbfoS6sCt2UNw80aIAW6LX6ARPBebz7RxHjc+YeRxMBRL2qWzN2oi51QXoHy+fBNrzBxD1A+GwVrMecZLfb1nXFDRaISQ1Nwv1d7SkZuemj5+IIzeOvcb811MH819PCoWpqQxxIvlUVcqSG9PkBzZh1R6pOo7ke439mQ6QAAtP/nKF1rF3ie5rADhASheE0DI/Bz2feU51Xdc2zXxjl4cke6tYfT5fp5r1rMH7917T+Hy+aH/wAADgA6+6/b2aJlRQ7bvJ69xUO15DUJgO4Aae7k2UJ8APLg3HH4wa5Y4cecT45uGIXoQQ0ocjxicqp8APRo2ystRn2TqjyUwZMnl9Hs3OheQP7snDjjCg7oFRhCqVs48jOWVORqSmhxKJ0GVIrZFKqTUkIfpNcutcLbkxg5Ms26nRZJ+vG4yB+n69pJr1pBeSBr1WM39Yq5oJ1rWECZbsTtGi1ybl60+5yLjiSYgo5lemtudXpo4ffx2VSv+UndDS0pLDkCWHkWCt+jhBkPR+lD73ggBDjnmWiTkkXLBZqHcqrYA97Mvu65m+YkZCP4qKt43mDPh8IRCsTJRujvggQZM446LEbcJMqD06+UF9iztW9411pOokynJ5C91eUmw3KaEbWPS9AYdb2bJkX5dvZz+G8dHDEb2oWA4tnf6sgpTyBFKVJrPFIAnwWfYDy09/I5s0WbLj8xV8INW9RPy/KJw0aC5PLs3niyLx2aUhVeTXnjjrwg9dasmNGcAftiIaYPGduTXq9f+w/vCtVc0Eo883K3oNqtAqNF7iJrKt4t54kEnNuJs4HJg1IPZS7oXkwfxKdHR+JTo6X/zdufmVqePO+joqddNYnzYjomSVVNWzF7diCokp9u9PWAnW6lOfzepe/NZYPW5NiLzvOCl0P01+XQwIcPiAPFREP4eZD/+Q6S9zUuz5rITkJJxwDX31NNYaiYIdiIWXSQ/AAXDQFcbLa2/rJ8Kk4KuTipfuSa5ThwSQW56kQ9s36+eP5z0yTtwNPM3jSMPDEeMbEVLKIMIXldcmXRqOi1xfAGS0CfIHTy5GSkH4g89wPRLy8y4yjW3SguCch1CY383eTH9dQFKZbbkzX+VB4t7wjEoCnEgbx1DyjYLl7/WQ4LeORBqb+gj5A7hWM1/2k88XhaeOA1un0Sw07qhOasZOJ/INYphOK1e/SCPjNEl10Hj89dTq/MrU8eOVaGX+68mZLgK8MnU8X/yd9M2jQ8jAMl9aWnIYsuQw/MWqj4O7HqH3yjMRV0d8l96pCpwaEOBwAfHyomFWLZBU2v68BD4g9H/eOinTJFSK+rhXjfohwLVDMYivrzliAA74JAaMmHGc7t5JbHtSKRhPSD+odngP9aZ5gXwjHql6b+C7p8aRIydQy0+ikxFqWT0JQuS3mwh/Qtv/g0vDcWX+4BGD+0msQ0IDkyFDJrHPo9lYSZE/+Plk5ugsh2DBHhD5Hy55HxDh96s2VEvVNU9/eiEi67/FIUHo+Q17CkyrMLAnvFDPD7zfz61FWqta34Zda0RDK19/CpXJtcLwB+cbuyx/MIaMvyK9PkjMfx198vjr6HuU7LpkuOtrK9GKqmPuxa05yMSzPm1iFSdhyJKVBlJR/MWqg69wE3ORKbB3Ki465XXSj1+2ny09VVUv5IJENHOF1vJSofmu8/V8c3cp38KS7lxhP7ZUaL1cyrd+dl+/VGi+Wyq0XuZyrYus44ks0eMzrznfCjQ/AKSkcaayrNojd4qraXKp/ajceoAT0DqBd1KVtwOfryQ2Cnqs4//NG+/B3Vt54y3vExmYtNKWRGuaPfFaSJ0fI8icZ8A35AIVSMoSnAGhVY9G9c+ljyOQCB3IBFZwIqvCH3xWO4FdcBNgxyZA2t/j25EJdYFaJ+RXNPmZBJxX92Za36T5fBNpPXYzbRyRprLQvt/OhPme/dDP7gomJ1RDvMAocBInb0AWdEoMfQrsBGLd5TnPMECaNDQL9XfNQsOXMOvcnIXhD35J9QejZDzk2qP5r6Ox+a+nDnyTXsp6vDKh7KbJlv2SJ5+kRGKVcmHGhDmU2iOlxyEQbZH3i+a97hcQCOY+iXgu5VtPPdsvs8gqSpxVE2De41POYdm7b9WAeHnR9PoWIAnffUgIUubYDzlJn9nLQV33aYb3HgHSHDEAEB758hNNc6e5DH8vof+XBri30JZEM/YFnFhFmF2dXqgOrHo4ahyzAqseGsZHoqT7wSi7isWL0lR2KKRAKrA/uDSVHSpNZsqCx+n7P/SyABPgZKRJ8986NUpKfL6e37XAwsdc0nlz1mjSpMbTn16IoOT25qyB/bngCNjy/W5RO4Nnda4Ech+5TVYOXCJrP/2FTYDPQvAFiQCjE1mcVG6/sBcL3B8MCG3BkfQgMf91NMZDfE+8wFMHqs/F9qp2k0CaLLkxbZZVEUaSLDkMf7Hq45CqoqSOQSHu/QBe4rlUaL472XY/Bt7WmcSqJMAixyedAzo9Duq95vHyAie6r5z9PgW8dlnTKFPlPkrO7ze4rQ87qcqZtfiFDly6GipvruT1++D+X2AqG5fP0EmJ9u0D3B0cOeKdRj00jI9Uk9+HIyfeaaYselS/zO0PpviNWShFMwthkGCXpJaiWaYX+y/RZ2OlyUyVc99CHu/TBBABJvzOnOxDoc8X+T2bT0YCJWCJtB5zp7C012Cns5jtQJNfAnmmyqdnDe4Hbl0kN1k52ElVxmnSaC9hRmVQb5Jb506rHwiYNErs123lG1+EUZsUNtGl4fFK9C0vAbal0tFAejP34lbMnVSSSKNKuTCt81aZv5gxRVUZfEWsipK4FppvGfe9gb5WFfCEcT9m/1vzDmP6+gpHNHPF1rifOLde0o4JOS/Ma5Qdn3YcFWA9YLRJ6En2AaQjuCOV5kmUppyHJ3jr6VnpUpfFTqoyflr/rvcltorGORK59RZLVwr6qmhIFg58FSsnkujO9sBtRYKvHo4YXyknwA5BfTCiTz0ctUOrWEQYmjz9aFT/nPcavQgskIq8NoG1STHglPrM1h6hYIZgUcgvvSJMbupLklmLBs+JgFZpdDNt+CZRwOmv72YU4h0WOf+dVKUILbfHhV75OwI3tr8ztwIhOUEB6Dc7ufkiVA2BbvRkiTBhGh02Hq9MjPPJn6NvVQRhsdCYNokPqxpxsxrktFTTTmftEYloy06YadPr7uPYDybqcXOT5NsOAiwCSPv3Lo+wnxx7t9uHHhP6GpXHD5IA83h5NY1zoguwobgPDZn1S929w69Yn/UDDABCJa/f7/r/glFhk1q98/RlKz88Su3/zRvvcVLoeev80HwyUvbeDH9pRiJw/2G3JJqdWBs5EqlgoU5/R4xdIYkyQnR9k90RY5fl3aUR8gcjhtLggFI0O1FSFEgFWxmQXJTZUzy5GNof616DSmIxBHghdX5Muc/XPlaTRHCdKiUnoE68fgwKqiSZIE2GEGBUap24NzxD8/7K+IBdgKe+qY1tkEw6WVEudQ0CLaSDl1fKTApPcW74mP41BQubVh0mcGFXpMlvr881rNojhaSU+HBV5XFoRFt2wgwlwN4HE7TpukrIEOAg/k3Va3j/LVdo7eeKrUAeqkHSmXlqj9zPXU9yP+2B5VNNY5Nl2jk0C/V3vUzYH+CUolNzhEicKwXjCUje7CmdpvT/YiXQXUQ1GWl6pZLzyUiZ46a760GMF+YAACAASURBVCbWIdcLnZtte/9cHjwUtDAq9zV2ly9sSowSVKqvmCWL1vWPceSbFa6Fw/Nodo6VzqwikAq6nk9mjkqTGaZ8tjSVHcJOqc9w7REOrAc/ruTfrhULxOdLTJWmJLgH9j2Kp40xaJgVSkx5CDBk6ksizjxgVh545M6QjsB+9wZ3boic6qFmoXFHJQElJDUrXUHclM1/HY09XolWupKdv546wHX5zhd/d86bAI0nwFM9lxMqDL4iypLD8BerPg6pX1jFhBlCgEkPJurT1hFtmq8CqgkwZLIaJAEWPX5Q5NdFK19/SiG2nfR6UJWRW3vE8cAS9DnsSqppxLoPlDciiP5+ZWrqd3/ui8rBDwooYd0oDs9sFPRYpaiPbxWNc7BJsHFcKegHG4WTrs1uAq1jJw1kyaZTWeRIJ7kSnTGSaFUg1R7hJq0kUoojqA8N4yOmnHnE+Ip1fg9G9KnOFHnE+Ib3+v4SfTbGI0MOoCOYtpqQ2iTnGpoueeZ9D047mFViga5Ikfa7xyDn3N5YCHjIKVpTxENk4/eGJ3gIMC2dmoY3ya1zdvURNhX6vvu6WnJjBvc60W7gXoFwk/OqVWjsgwkoMHWZcfMns5ROgB+vTIyzUp0fr0Tfereb/zr6BCB/VlaBJIK9+K0xdQTYXxPkHkMVKaVNQFXXHjmkvkt6rGrCDPH1sr4v9bjZDMofPCDAwcieScBOYTlqj9yOYIGHlUyC3DlHggT7NNYlTf5n6eLU7/5cnvr9n4+nfv/n4+jvV7gHVwMIAg262igY2/bXOoS4slU0zlWK+ji0/mijYGy7UmeXQKPEGEV3Ty/5pnohdX5MRhKtCgyC+g0uyZk4DUYI6sMRvcgrl6ae54jxiaraI1Y6s0M4w/MHT2bKEH9waTIz8zyaDU0O0/57NHb49yg2/Kb992iospxgJrvU37dNqKWA7jNW/3vLRUzTxnH83vAEdDt0kgutTSIFZ0HhqzxIVjpTu51UZXwnVXkr6hPuNxCnB3Ciyt25C5puQBcSAqMCj1eiFQ4/77Z3e1AdUgj+XxYacXNBlihS9h24v1jT1AVs0Yi3smolRgo0z/ejHjc3VadKDwhwuARY0+yHj8jn77L7dchEF1x7xPvAEfH5ks6jq6LJDT1Egrv6Cb/9z68/mvr9ylcu8e0Q4N+tnDoSfyrhC7oq6uO+5GdEvrxRHJ4Bpz4zAq/soCuum+zqfDIyA094Ps9MvOXBQ8O4CCGpaOgU1TPsEFTofr2BWarxPJqN0WTILDLpbB+aP7jfOn3b/4jutv8xddz+R3T3x7+f9Gi2/8/kRdzXg0RoU+BkpMnboT0PqmoiB2fxgpcAJ5xgK14CPP3phQho/5w1SDjYYVjdIVZMeTQik64lN2ZcIr2TrFR2UhXfxLDXgCY+M9ay0LFz9YuKapOEjo+DSJqzVw49//XkzGmQQWua0wMsSPBIAU1h1R41ps2ZoMhvFwFXsR9GgrX4lNlUdu+lmgCrOKbK14gePwygifbAie5LTQN/fi+DK+o8FUjE1znyZ4x6aB9nRWnlG1/0IrBw6vcrn0R/t/LOS35P1gpo2DWABLqDq/RVWvKzzx8MIsEGMVRDOHgnGWnaEy7xlGgR8BDVByPGO1uOTJjsInJmkqwaQrBVAuTpncxUIf7g0EgwgJiHgfY/Jr+wSe7JOvz71Ev731xi3P31oMH1oEhsCT+AAP/uYsLxeJD47NIQj/wZlSaDtvPUJ9GSpu1jGEcQ+XPis0tD0KCs78ytUYjc2ZFJn6RCewK1UAl1P0CFL1e2jqhZaNwRPQ+VUjwh8kuY6M6vTG2ztwumAkkE9bg1wTNNpdYehUQaVdYeBU+k6UFWMlPm+rR1REvIhiIoAtyrCbCq45Ngpapz5u1a07pdO7Zu147NVK18K1WVlqe3WNYThKSyPje9n492vgNlG2T6S+of7greIk+XX6KqHM/rAr83+93vvr4c/d3KLpn4nqzf/ufXgQy7BvCgktfvQ/2+GwVj2/UHU1OfPSnRXjiBOAAJtIollvqM4oGuf8w1qaWQ407t0ah+WWR7mevAgZu0TmaLNBlyaSo7VJrMlEOURTOJeZBo/yP6zkuAbbIb/Zn09TCmwQGlO5dlHyjxk/PIkROGx0262cTXOHJlzzzbodNiFPQk6G4rSOLe8Iw3ECuRNuZ4pNIg8guQSe+kKj1PAHbRUldTtKzsfDjleqq6gCne3W2gJLpLCj2/Eh0VkU/3Gntxa47pQ522iJkPsrLqbgKM9xerPk4oBJhyLep8zGZVxh88IMBwAmymalWX+HqXmapJBSw5/l9aSvOypsGSn7vSnJHpK+6z30eWCX8fXPkz4KHl/0fcj/05vyzzPuEQja58jPp8acueDA8mwKEDnPyMToyL+jg29Zky/UURwqTqeD51/liWAGuapkF6d3l9vA8N46Kv/ohFgjFeY1E46cmi01e2P3gyUw2PCNOJeRBo/z26jCO59BUNxeOhVgodqar4HdI0QF8xnYBzSeuohHTWqJImsqIEOHFveAbn+0WJbjxtjN2cNZru5Nk+nh7znatnwuzFTrJyn1WH5Mqk3yS3zrFk0ihR7hWYPZA9msJqGqzPslU4CYERgR1ydZIZQEpvPnk9gAR/3Z1BAKpF+jrc3AIo6tNmkUi0CGnEp7X2KHDyS3lgoGlqfczQqiUcBgQYRoDNVK1MIr8ICZYOm8TJlrsDqujyZ/Tz0SXLqAzZW1HnlS4TJdP2dswpdTNf//8hE2pV6f04ny9F+vzVYPLbQ3AlPyMVSJW8fr+LPHt6hV24NSwonEoWoKRZbGql4r2B1htBpr9ePLg0HAcTbIGAKxIUTGqbEH9wWLVJpWiWODmrNXM3qv/KrVT/lft251+58s6/lh7JvHcn/l7OFWIoFr/XHjN95fT5smD/vkucE8cEOkFPgcbelLGkzOztbXLrfY0jyfadD4mk30wb1BtUYs2R4/Nlvq4Pp8BQksmxlMraPOEw+CXgJ7Orihxi+vXUgabZVUfkxOYTBQmz4sjZHwqRbfoF9Wkz4pXm0mTJysKi4mR/serjhLFopFRFvdLJwlc4QSFDgJcKzXdQkrlUaL6DHhP6miCPj8K6XZvAEl5ECo18jfgQhwedkCmP4oU0oUWJqvtaP5E+CbGyK+oavoeyhP3uM/925Os/7xcaNejfDlkCHP39n+N0ny+yfvfn8uR/lpTd1w8gCZ7kZ7QCqZLXi8zaI0x4DkgSbft/+YmyokAdJTLoEWOX1s8LSoRWRIA9tUeya7M0uUj1LZaimYUQ5NDYKcDOv5ayO/9a+qX6r9xx1/oh99POv5ayIu9f+x9T/5e9b/ltIs+3//4ZV8qC1ZWanXvRiSvOTDItJBIeissB3aVjcjfY5AWDOoFW6MFhcxNBKzZ9F34lBs9i1MSaxU/qkCFXSKMWShpbrShJC2Rng2yyGEUaid7yW1SVUy5/H5/vo8oO+EhfTQ+x62FwpU6dzznnlQgBrj33NmjG+N7xfm/Ifb6ykLc++MC/wCfm/WEKgW16MBaZ1wYn5rQS1DdMIsCReW3Q6SlGCJ4U3awek8MEX0++uIwhsY3Xl2/8Y9oIzAKlQbdd/SV5uxSsQ9UhJxTPGjfhXl7Tv3cSUlMJplUXNcaUl9ZC3/EHYrFrkXCdwp2Eg0gsbKmUpBHb01p75AmZpqVYq/JLM9KyIcCRwXS2Mmv8rDLLUFJftfw8V72czh6GWwlodZO6T0cPL/A1yvZP+4ywRNdUe6MzZZ/zZyo8wRacKcuM63jjHImhWpm9D3bPrx2k94ASp3O/8QQrcjcIWAheLfRCfb76WP6oW3vURjQHYZk1Rpm+RggGT/Kz871OtN74Nvf9IgQZifblzDRoqL9R6U38YkCbUeIFHtCKJCIbD/hDXhBgV8aTg0lqqIY5cu1WbRJWBXj9NpVsIb44IvwmdRv62dU39LCQ+mv3B2+EsBd5N2A+YMq1k/g+nPxyUJUvmScci+7L1RaM8WN+csoaUXYCnBTtWLRArNLkP7btRBYhixg3/zlkTLrdqPL0+4qtVReO+cQf7EgqZYHW6bu0FlpnElvbmLJQIBarT3hNb/tEAAS0oCVVY7yAcWGFhNVIULYTfNWLHhZGGTPnXeZYujEeHn2I/5yipf1I9CGJKOMJMGVlKrsn720lmsSVrjbuq3DKrZOMQl4jun9eAnx9sjTY4v+Nlc4ghFAsVjrTog5Pllxt0YCoqgCv7ipmu/y/IzJ7Hxrj1dAJI4H6uktX13qgPt9u0nMH4B9Zf5hIaHP+pidZ4OTnrIb9oi7f8E2ziK3lMWSPRBvJzqayRbmp91F/aYlCdhTaoQg/wu0jPqAVSe9RcQ602iPZBfYHK65NwgVhld6mJpjk10aCETJGpVmfX31DP5QhwLZx6ENvR6K/PGN8F305M03dWDd8D93ozm7sF0S+OdYNH7hPl2OkmWs5A6xYiHzTN8og43gV2PQJkwAnu44x6dg/OsrnWRUIm+JdKr1djeM+8ayt8ryPNuJsEVbImPJSfvQyhAAv5fUXXPvPd04tkgiUjvES/MXGflSqzK1EGxIAxr0IZHNvPOpT+JkVDyLXB6EPB0j+ahwZTGWrm2QyWWkKoEtlqvdZ5DOVqd537HOVTW7Zr5HYPxcBthCbKodjU+Xj6FS5kZURnSznIAT4+mRpUJUyTOlTf2UqxHQii3mYKEt+EUKomtlbceN3ROjKk3tg4juWz3V9vm0GtfKIMMIsk/zMV1vkC7NHon3H1g278dovF1rUJcXeRTtUKcENb7AzHIsUjBWg9ytD4ZEntwKpTVJ0LNhfnqW36TdQAvz6bSr5+k3qtvHfaaJvHFd7pGC9qv8U/OQ8ICbZdsHfD+8K5qlD4lnQz2D8zlc+IYXZTrYxSdV2vL7x4nuROqROBPgpvdx6JfKUXzVoKqypAJNri9ZC75bz+gBPTZLdO4wQrBbJ+Z7TAu9qj9Qrpk7sT8TO7I9Hi2pINkX9VeuX5vpcSGPsJLXUHH8+tP35q3T2EHvPl05Xe1PZ6qZdtU1lqh+o7zEI7iGNjEJeI7J/UQLsBJb8Gj7gxr+z6EzZ5xyhVlGdJERYT4jrimNb/L8THOQXoZbaIwYRhiX563r+LNDn+7Lr8+0QUImsQ/39R65v+h+5vun/y2lfIGT6gzmSn8WSno1RTLP+BDzivDTlGzXeA/cJimJR03qVJEPbiPCDAf89mg+Y5h/mgYtjyFhyykpnLgSTOal9YLZvhl41EdxyJX2x9Ca1iSHAbxBCqPQm/S+7Ilx6m5pwbtcIv2ru91W2NvRVFX+/7YbKcWen8iuiVE/M+R8qJsCgYD1V6jOpFqkc+0eYx+f7y43/+wK3nU4DKGxKzVr14nxsPt/mWqK14DSN4OLU3aU1/d9La6HvEAImOjerwL817Z+lMueb/canBQeR64OqCDCtwkdxwjRzqsVQm6MlcVJKHuXei8RGlRF5haS8C37EYqUztEokazwaIYRiU+VjN6qTGH28ZOLpSNFXRX4pqjTzGFigKcCGz/dJRPRz7EIxDALbrNraCHFjTApfi3Si8EKTn6XHH1k30opSnkXxYMB/T9lINCNAS+VxuzGGTF8JaoWNeG0Sfrst3t83qXcWoX39NvWgiRwbym8eowr/TjpewweM7wCW9gc/D94n7beTYU5ubLmg+Ep7kx3pzOJkdF47JtUnWZiY1xZExp0Zq+X8IapvafIf268nX5xKFa+S3Z8FeMXkVmbvgzPIRRWW1/Rwi8rbEkhFUYENArx9Qn5PRpJx5BlWcRRsUhmX86Ec73tOC2THoGm1RwghtD8enVZFAnm6cg8isbAIwaclP7vlN5Yh5V3wIzZZWqBWITWPRzOrk2JT5ePoTJkacEoD14PMzN4H+2SOMuXXsKkwFN+T3zMiNhl84nMea3HEvv9KPhS6kp/phmK5jBdZ/zrOs/si579M7fa11x/ZVGJa8rMdnOFVvDfIJVzFkgji/X2R+IBWbIwhB7SXiwF/jprerGk9NN+uGoWYrf7+Vf9hkDV27ITCMWTmehpMHJOSmi0Ugolp6PE8DSaIvzxfv00X8V7f1KZjNPpn4/WYlGjz9bTjrW+EVgzSqloR1ne99AfLYnnyywWXvttK1IHIvDaogojSxpHtHb8q17U5rYLbL63i6PXki3/b65BOM6oe+IOr2f1DVf5gU1mljBfrjeAxWiKzQWj1AWNbtvcYf4ZVd1kVR7hwK2YtUj50ahW6/YnYGeHRXkaCsbKR4fEo8SE+jRjzEHyawqy29kgdKe8CjthUOYxLgyb1AF+fLA0CyK8SElzN7K0Art9Naf1C5De7/xH3MBNCwg+zB+HD7EGYlEDNgkFgW/2+tPdcurrWg+sJ7qZDu4jW8Wf/u3/k+qbNUCxYB3BW+0hLfKbhZExZvUpkBWmJYDGgzYBGmgPaI2Kf74D/HNG/K0N+B2Ajlw1FN5go4saCC8FkzgyparnRkx5D5lnBRIlG1AvBxz4QCaaQaafKS/D9/l6upC+WK+mLr9+kfqWFY5FQ/ynY6w4BthTh0GYn+4ONrmF3fL4y32ccGLVITOWXlMg8cbf/jKzPl6g2E+qWLOBGoDvd5ysC8ym+F/7gTVl/MFOJdfTs0ggobvtY1dhUlqlj1QRCS0qcXsrrv51WD7ATZiATh8oZpU4sIYSQMiJIINrWiPVeJLpF6iCGEvy9SAz74G5/InZGeciWAlLeBQzYBGgG+UXoJDAL87pcLFY6g/MFyx5rNbN/v6X7N7O/6yStzOs8jUw7rt3Aej3h2iM7QmNPXjrJLMn3G7qSn2HWJHVJsHqwg6ygCx94BYWZSPtQ8c2z0NPExYD2UmAkmUiEwWQa6A0m7ceOp3pyoUUhtaUxt/T+YkhoIfjYV/DSH0wg6ggBfMrBRAn3PjuIqq6NANvrj16/Sd1u8gGbi7aP2kZo0y3y2zQW3WH+YDOFXbLTF7MwPeEqIUKCaX28LviLrVVkjVojZPqAT4jvi9Pi8xXFYfYg7Lo/2LjBWpU5TlY4lT2VmaECf2ffLum1TePRgHArWi3S0pr+79M69szC/nh0mkX4IGO5qvy/jLHkrebjoncRkwg+bZRbaYgXNwEmk3Lj7yma24tEtxprPJrbH49O84yLf6owfb6QEWZq7VF0qvzQNh5dsf15i5rsxXkBHnJukghwJbt35NweqCNYUSBi8GqhFxN+1fTgQL+SD+HHpfH+4W5itGI4R6Ah/b6kP4fszwzEmX44+eUgKbnVVJHkbqY5qlHsECK/zUSY2OelojIp7vefZZ1DIZQ8Q1JMLcWXSCgxJLSgJ0cLXvqDg8mc/RjMvuAWwmv//5BRb4gKbHqAf7XXHznDsGj7ML3ALaFYLo1FH9U2dGw6YW0jtEn6mUqYD65cmOAQf4DFC2gl0bV5/xZR9f2mb9oFn+/JApBfC68nX+ROq88XIcPrW83ur1az+5uVzP5uJbu/Xs3srTi9XHZUM/v3vahNgqaB4sAeRz4ht8TXAtVi+2gzsBqp6fe37T2ndtyZB/uR6EMKKWU+gFNRf0Qj2qTt743HjmmkGUvwCQqzygonAfW3hZQbajSMkO+Nx44Ngown0Z8ySOnOGL/vlj3wirg9Iwl6KzZVHkUIoehUeRq3PbfPC0B+D6uZ/fs0cuzY3irgOr+q8hxCY/mcjcTes/48eLXQi1OIAX3BYB9xF0C8yGi/gYiv6fX9v5z2hXM8mkWAlye/XMCquzd8leUbPuzT5f+J+nyioVki6bDKfLsBbZfk0V3UtF6R/cQD2hE09Vl2fJnkpfXSH2wR4ad6cgEXhvVUT4YbKncwAR7Hef0mdZulBJ8owuki5vU/Q/Zj1CNZoVj6EUII1Tf0VS/8wc3VTPru+w13xhaJ32l51bcIrTVSiYl5bcHp2b02p1Um5vwPSQQ0Mq8NTsxpJdeIr418e/15eAnoSHMlu3dEC6kC3uTIEeHM/i6NjJOA8+qS/MDLlDAqawyZSWxtAVuQQKyWWiSHKvypY2886msdH44yJ4sQUkMeaUSbNa69F4lWaEroCZEkj3KrrD3iJ//NI92iwV4nnwX7ocVphxlwRUxtthNfmRojwmg06HshCgj5NV/3iqzmOkapGQ9IcYqxLC5dXesJjT0p2pVbaE+wPpbftcKw7H+u+hi7QAiR/b6GJxghkyjbA6+awrDwqc//E/X5YGFXvmMSEUbIvNkGh2bx1x6p7PKFqLVc/uCAtgtRfhHCjDaLjSIT/x4KoeQZT/3B5LWFkDmmTRibNquP8qW36Z9fv00XX79NPbB+Rqg/Yi67MgxBfUNfdaY4uzcmre+SSHbteUjKomDHcswXdifAzldS7fMVRWReox6H2SdcdJv4iqrApwkipJVGhE0yTb4xUreogXg4MD25psJLqyRyjDcDCTWbfDtrkT5X7EVioxbhhI7XyhNgMtHmSZfei0S3SAovyTdsHH8s3C7y6yTlqo7lUybCkNAqEeJr8wKHaWPV9u5gN3CYPQgTx5Vtyc7U6zNvgrRL6f92QFRfYyQ635gkdQZjjY2tnXP7OD9LmInP6y8y2m//yGrbFvFFyKxBOkl+/s05Cm31Atth1qDwKUQ3fBXaTfDSlG+UVa3CmwC9qGk9qsnvYuDEJ0gbizaIMKHrN6Dtxvv7uDrDxKqDmkeLIfsxibaX/cEti3Z8r9+mklil9036X6/fppIIIVR6m5pwJEAzFWGevwsaSKPS7i65OiVzIsOdWiMXfb6qMTGvLbil8k7c7T/TokKbfy5yrPuR2Efcf3cKZIlqJbt3REprpt5EKVoiSdEsNdbyA9Nex7Gt35bz+gDNV+wk1V0Y4CVPMmSNrt6KKKHs0C75fSggqY6xb3fGsKMlGvk/jaAlPMsovqzkaKc32G20JEbbyS9l/Nmu5lZzB5eZv0c4u35FAAm6so84B68WevWx/C7mNUQ+0YULMEeeaSPS2JRRKR/vDR/1Ak4OzeKvSVHhzW1ZZlBVPOAPWSPMNCKMkDEebVvcZnfT2ytFKu1BWdB9ejoWbV8E5bel85eQ5mwFXr1+m3qAC7tyrDe8fx8QNI9Ku7l0qQu8dH+34Pe8k+BqrZFNcbYqmpx/bmFi3g++Me9kAlzN7h+qIqKVzP4uKbwEWLvhiQJsgRmKtRb6jqECf4cQXSkGru1PJdm53RDtznUrlGpvPHa8Px5lKnXtrD2yH5/bCdSfSsUSLpW5qaIIoM7Gpsqj0alyxU6UY1PlUYiXWGacWhSWgmvPYGA8PG1cm0EhiQKWFl5Qw67GnhR1PX8WIWtsusk73E2DbieodUgZDTs2tSzZA2qpwMuAIJyT0Cwfd4k6Vf0NaLtCvmAb0W0Zcw5ou4ua5kqNjUIiulUIPuZ6YopLnW4HATZVXdhIsxloZY01m2PSGNWY1f2rh2sboc36hn5oI52veHp7jVFpFwmwYIfwsls+30nflps+XyOV+ssFVb3Bbow7X5vXjie+6cPerOB6fiPf9I2eEHAYCe5UAgwaSRNShPeJSmYlu7+ubF8K0kLZfbv6AFHhtYVh0fzCre8LThupzqF3biY7p7OH4VS2cpTOHp6ayQ5ZiJJVktKsTg2ljFcrSq8WJP5NSqI3HmSYp/s0gOYBjk6WSzSiaifQ9nAsc7S61fM7Va5EJ8vFdpBfEujXZ2Oc2QxUdO1BJg9oPt+T17BV4m4StMd4kfHneMgvQghJ3TTf8BURQmj5hm+6MSJJ8Qc39ilwQ/1gwH+PRGSt1yxqWg9UJY4HtMboBdVXzFCDeeEKAQ0muciD4Q9OFL0iwLhj4BtpTiVfv0nddo43v36bevD6bbpYepvOszy/7DHm5oAq6rZ+CvbWn4deqSa/tY0Q9wXe7OdW7/NlWBxEYCXLGyo1ZuoEcO2gwY2QK1qVkhPjd77yOXuFr81roId9nUiAq5m9FTfIbxM5zeytYPed3utVVJu0Kvs5MH25a6F3tNfYlVs2mTZXbuwLLxRfg/xWP6az1Y/pTGU3na52bHe5KogSVtL4s6ii3LLGo0Trzv54tNguAmw/bx6fszTxNhKjP5mRaFoKdHSyXHQmP5NSna16JJNYO3/eUQ+yGOnPDf8vpPbIq2PGKMCNVGiOOqR7tH104RL+L6d98SLjz/0jq22b/l/s2DNCduLaPJpseIIBipJJZDHjzcpVI1LtkZ3IWoj7/WdZirCV1LyoaT3M7t+ApiTSHFsTpGiZtUlco0OmP9jd2iSMV9kMvWoiuOVK+iIh8OoNQq0VR6W3qQnIOb7fGL3Mmej8qv5TEHQTWN/Qww41WYL86h+g+7VDfbUR7CEWC/8T9fnMiQ882SXsW3R/TuKpwudLqlLCgdErzPxedhoBNgOq3CO/zeuQ5NGtZPdnRf3BKtNCWaFYS3n9xTKhx7cpDGtNDwMIsCeVRqlMdaVBfpvXqhf7bydESCtuNFdpH6/HtUdNXb2kz8NByr32IH9yJPikugjrCba/lqQaW+quvQuYtI1OQDW7v4qztljXZyZJVvQgEwpnmBVCjTqkYrcC6RMCNijHdvNrhmPlCDesCwghZPh78TezvCFXNDAI6ktc+jJRDQ5oL09eQwi2ckEJLngTRlWBdO02HVcwMe2aPxiTVN3i/X2TemcRWmcHsKn85jGq8O+s8xIgv9YY8irP51d/HrwvXZvEuU8L5sMqVeRX6MZ7OfblGTNx+qF0+JaA19hMelbn88WMNRP3De0VZoRjdRoBVqS+8q5XRH8w4SaKToDFu4BxYAZZAcKwWNuxgrW8QCpT/UAgwB9TmeqHVKbqetpquyBKKvfGo7mDyPXBg8j1QZWqLM33qkxhtpFaHNneG4/69sajuSaSa3udUrL/GZNghE68vU0E1qYAmynPVJJMGIHuOAKMELE+bxMhdsaEG7VHNFy6utbD3/trjEkHrxZ6EbIIeMYSxQAAIABJREFUs80fPPbkpeUd7qJDQLkRbboYt4xY3vBVELLSZqk31Ep8HIua1gshqQ8G/Pds7yF7hk1vL3S7zsAsUXhEgK21RQqfIh9f4qFqVRq3H3NsGeP1TW06RqN/Nl5P6AOmeH7rPwV7RUhpbUMXHrWpPQ+tC5LfQ9F9IiTv41+e9G1BH1Ytx748YyS8f7lgkF0XfMec0yORb/pGlfh8AUptY5/8QVvUZPJOIsCH2YNwG8gv6Gk/5iYKf9PkUlooLRRraU3/N2nE2QrDsrC8pn9vf+1SXn+xvCbm/xdBKlvdJJFfxzr8VP3B7RwrbiJ4Do+t4xiVjhzvjUdBDzkPIrEFOylvpwfZWJ+OJ9gOyx8cnSo3PfgljkubJJn4c3M8ulNxmD0INx6umv5f5oNND2qPnHCqwNA6JKtPmESQvT6PLihgKDEV01/YOiZtVqGA1B4FtSk8RDUe0I7iAX+IUlnUGE8gjVVDCLYozARod8eOm1aCS1Ezx7TVEHVCT7FT5SX4fn8vV9IXy5X0xddvUr/SwrFwEB9NlqsgMvzBfLVJ7zfkvX5CPmDzO07bbiOk6oav6E7IFp6Q85z7xDd907I+X2h90cTd/jOi49a0zuJOIsCsJ/JeLFptUjV3cJmpULuYFgr28RLCsNqNdK56GUh+7evVp+gPVq6uChHgGPEarHbkWJxEtkv9dRz/qWki4EF0ptzy8BlHcKOT5Zz1elKytPdHL4ZqZv++Ne1TpaREe63+2gHpAraPO0OCsfQrT7jqUrtwETI3p2z1V+xmFoe433+WO+GZQI4btUcD/nMi75c9FwtepjE/DSaOSWSUBAX+YOrfO1HVtRFgq/4IIYRev0ndxlUg4bYtntQsV0HkOAagP1iOcFsw/Lbg7/DxMiG13RxlLroSrMWxWMTcDquOSMTnSyOlTkxI9gpfm9PISk+HEGCm+pvZ+1DJ7s+ar3MlIbr5BoicFl3N7N8n+INdTQtlhmIBwrDaiXSmsitAgD+aI9Or7T5+lTDGftvTrWuQX3K10n4k+lDZfsZjxySPMQSqztUaHxdP4ib3MPPArOecNh/sMoUcFfvkAWEEehQhhKKT5dJpVH9JoP3OqWT3jryoPsLBVHPxJNhWh8QRjPUxNJb3JN/hs8dy7MszrLFGkf5fezKsQYK9uXgwg6oEfLyLmtbbUn/EIsEYr7ET0NFjr9OYC8FEyRN/MCb4ygmICmx6gH+1Jzw7w7Cc2xUdfTZHkanTCu83Ri8bfcDB++DEaEJ/cG1D/1Db0JV6FGH+WyPkzvleM6G5raS3aZk2CyhAPtymcWd4R+/EvD/Ms33qItQpdQpYpNZJSE1vF63nUcU6pN0EVe3+YI/SQlmhWKwwrHYhna3MipDfJiKcrRx9Sv7gdpFgGilVPnIM6Bkm4SASC8sfQ6v6LDLeTXtgAIVIcKTsPkWAI7q0XuF2HKMqVDP796mj0G0iwQgZBDc0ls+Zo833GsRXz5+FqcTdgCzPcRJeRQ624VONyMoRq4pFxflA640g6q8T8f6+CJhgM7qBC3py1CCBsGoiU2n1aBy6QVCLvP7gp3pyAUiEwb+gXr9J3WYpwSeKcLqIef3Pzm3WNkKbYinM5AoiQ1EmkdjQJiS92VSEV+sb+qpq4mvBHFcmfXe3cLVG5pNwxUnS2P2XBEaowU+0wersnB88RheZ1wZVVytBa5HaBUDQFPZ7Yj7Fd290OrP3gUqCT4j4qmsfjgN8vb7u9vlCkc4ehkUV4JaVqex+Kv7gdpBgUq8wQqq7duX8s0q80oTQLVXbgkJE9GkXAUaIovYS1OHTDFL1nVt5DjLQr+RD0GAs47XmePTYk2JXBXYZrTfClJFHkdRWQkco6eKi4pyUjEEHtF2r/ggHUCI0mwA3xoYh1USSY8Zyo9GctUkIGYpwIZgo4VTfp3pS6GaIUH/EXM7uX7Ofl5q0bCqyu04iiyOx9Y3QClRNrj1vv7qDkP3Bl+27T/DhL0uHZzEelt3wFZdjvrBZhyRw48FXi0RTaa/Na8fQWiMzVbqokvhaI9CdrABXcweXgYR0lbgN1pN8SRLs4ccBAqn6qJn86sQqwnYhlaneb+oAllKEq66OnHsFQ3WNlrwgv7Qwqr1IbFQt0ZYbG5Z9MEA6V2FlWVDNlvl9J/P5ySI6WS7SyK8zQOu0w1l9R8qCaBcgKdH2YCyEEApdeXKv6wX2CMSbTULojehTMWffL16BkvcAW1gMaDNKvMADWpFEZOMBf0iUAFN8vdhqooZa3MZlknTmBQanGBeCj33QkerS29SEI+H5jb3LF/NzpiLs3Ed9I7QC9ffWN/RwQ9V1VBC93xi9LBKi5cZYMy/M6jJLaSU+4BD/zlOvB6XlyS8XLOsFo0YNuk3w01KqCgxUfifmtQVl48524ssxct0ucKY/U8eSK9n9dTdIcCeqActroXfEbuDc2BftPj4a0tnqqhIS/An5g1V6b0UUWZXBXNDUZ/rnIXkcBMVW9DxFz0mmok/uE5TH9cnSIIYIH59W3y8E1ez+Ki0DwksY486GcssOuzoZczb7g1vGpPWxfNvCvT5pwMaam4krQrQ+X9hNqukhbB2lFEiBpvlsZUehHYowdh4/PqAVSe8hHVchlDwDGBFuqSaipi7jlFb31haJzJrHCB7rdoLm97UHXTVeiwm7cqw3uP3QSCtpxLm+EVpxbEMwQKtz1OClKd8oq0qI3/6Af6C2POnL4R+qfbmgKjUaN21CAqmaiDV6PDHvD3PWGgmNP1+b9291qgosWH9EVP9II22yq9MUgeW8PuCoNPqtUwKvIEinq73pbPWVGjW4cpTOVtr6EFAFjJ5gF9Tg8Si1Du0gEltQR35jSuwWbpyvjK9Y1Acs8/tI7hNUi+uTpcHrkyUlYWBdsHHp6lqPFXKlX8mH9CtPIqxgLEMlZlYpSbfKdOEA15f8hq9JFVEfhMM3wmghPqAV4wPk3kxVSnDDG+wMxyIFYwX8RAJYCCZzcLLZWk2ESV3eIvy5uyuYzLWQdBtBh4x121GupC+Se3zJNUav36aL2PfRun8lEpebFGEFi+Yp7hQI2h+Kyzd806SAPTNFWnGYFnyKZGLeH6aQ0JZ/t+N3vvKJ1hrJkuFOU4WF+38zex+qmb0V2nYJac2fkAocnF5a0//dCT5fUaSzh2Gj91eRPzhXPTUPAUg4iMTCKhTZvfHYMWR0V6kPWSL4yg6ZY7B3CTedp8RnKk6Awb9zFni76Lv4dGEnsvpYflfX82dp9UahK/kZSCp0VwVWDDPQhvPm03e8fMPXdKE0un8VqDeO7ULQNIJMUGgRMhKclSRD24jwgwH/PZoPmOQfFgmyIlUTNVKXg4992D/3kAj/Vf9hkELsKwU9yQxeoI01Y9Tf5Ou3qaTd2/v6berB67fpYultOu/0/NphEFhY1ZE9wdkkvly9veDlGK3uNNBDs5quDw9ZtUTQRHiRh2i81xEcob02799ydv1em/PnvCa+ratzSLAwAbaIKaW7FyGEqpm9FWX+YLNDsgv1SGWq982RZhWKcEeMMMpClAjvjceOoSO7Krt29yJRrhR96nHJkFXMucuq3G4TYPlPrItPCWb6s33Eecbp6Q1eLfSadUi70DToS1fXWkJ5Q1ee3AuNPXnZjvP8ZCBGYH0l56ihnH9PzPvbQmopJBghhB4M+O8pG4mmj0sTVQfiCDOIaPJVE/Epze4vmhr8+k3qtoP0/mwR4tdvUr82XodXe1sSnmmAE+AGET4SrkviWYCE6HYC8h0H1KlJXCeoD9CEwj3svcDX5rSKs+vXDZ+vsBJM6QZuB1QptDSCWlXRH5zZ/2RqeNyEqei+EhlLTmUr66r8walMlTgh4BWK58/3Phu+cO/HkZHis5ELL38cGSn+ODJSfDZ84d76uYvMekOErOTi6EM2KYyWeBRY4URkovKqpi/XPDZhYo4j4m6FarHgBQE2HgR/uWA8DMblbPiOzZ/lROyBvL9DW95vTGgVnT+T3m7jnJs5AOvhtSnaPWz+rE4CNHk/Hzfg9PzqY/ld48+bSTCsB/jJy+DVAvZ3o90rrF/JE8N6uwBC6Mb0hq9oH/8QU3bERp+Jo80MEryoaT00364ahRiv/j7Vk2E1iiu8mqgQfOyTIt0qF+WYTcLbILXWn79+k7pdrqQvvn6Tuk3z+75+m/rdqRKTwE+APVodrgIjBLFN4B9mLSv0+Tr3xyLdLEzM+R86vbaRb/pG3fb5co1Af9M3Hfmmr6PqK6oKq4xoASbV3MFlSX/wqocfSxNqO4lifSf5K/uV7UUqU73f6s+trqbTVfBDuXS62quqNsnYv/e1Sc9GRmaejVzYfTZy4SNt/TgyUiyeP8/1wPIgcn3QuUSOUWntEcNnzH9scqnU9s9Ehcd5LxLjumaq+J3E2gerCpTx+y4HHbmWOW7nfbyK7ZoND6z7h2N8awwkldtXkr0XkEXryLM93Znp822MO+NIrRWSpV/Jh8bG1s51x6MVQ2I0sUnZg3/Bxf7BLmpajwgBtSM+4D9H9O/KkF+KH1n1WDKPv7ZgpEh3bI1Sy/jzm/S/zDHnB6/fpH6FVx6dpEWT8H5j9HLbyS5eae44v6IToF9Etqex6rMCzEVIqZfFxN3+M+3w+RKXmUhtjWA7Fep2oprZv6+KABtK7d4HmlrrrLzoZAJc30nerm0n/lXfSX40F+jhXLtAHWPOVHZTmSpYRU9nD8OqapPSmcouDwkXxbORkUcs0otdwxc8DaeRCYTCLomeXBJUenYPItcHhROgBUa73SbA2PBXfhJMrCuUOZeT97Wq0bLb5Q7OtZ0fnzjnO243CbaPQRtjzvkZjnHnGef2Ll1d6wmN5XNOwts8bt36vi4wML+AC7S0VLEnVK1fSmrIjeDIIkKwDl4ICTa2pc2o8gfHA9rRoqa1zOojRK09kl0Vnk7dp3pywVN/sHmMrOPiqTViLNA4tMoQq8+JACOEEPPacMNXcdXnS6lsksHEnP+hOwquf8uu3kK6g6/N+7esLuKJOa10Qog1ai2K11CpAtvWIdUfnN1f5fQHr3r1edR/WblY2068sRHfj/Wd5MfadoIY4tduQMeXU5nqh1S2sg4lpKlMdUWVPzjtUm3Ss5GRmWfDI0dC5PdkeebDU1l7RAqdkoWscotTxg8isQXeceiDSMz1sWEoATZ/H6qtE2SQYEGiiiXoUp+RUIuEQWTFGmfU1amKIHi10Ms/7pzP4X2+pJCs/IxTbW7HuZ4qGH7f1pvV5UlfbvmGb7rV1ysytujbcm7nf6I+n/kloBJvhMxUZwp5XdS0XtlRZOx2FVQmkSqZGtVA7i5iNRH2eDz0B0MIunMEGrBIhBlbe+RE/XnwvptEtrahz5odwatw//DpIMBLU75R9cQWdG2R7qmkQTkBntNKNMUWF6x1bU6rWGR54m7/mSby21idE4ZVzR1cVhZW1bpekfzBXLVJlNRplajtJDadxNex8l4cBw/MWiMhZRaqCqey1c1OI8Hr5y6efTZy4aUk8fWUBHdi7REJMt5dmnIL9RiLBnup+D2F365i8msumtrJuy1a0KXcZyRofZKYHOOpQ3QDUM+vPpbfxfl8ISFZjfqksSdFkle4Cxvg/xB9W8s3fA+XY76w8aUQCa6BexUsxPv7IjYv78tFTcP+pfIotrSeYCcWNa1XxB8cD2hHNLJdCCaKnqmtmGoiEsxEarf9weCncaU3qXcQ4mt5fU1vsHM8GkSAEUKothHaVOzhPbSnRjft63lo/VMhwAgJ1iIJr9aHam5BReCV4R2GkVSL4Jr7bSgyRuUS/lhYPcVew2USTFVwq5CQrNyBqxU79Z1kvrad+J1Bfj/WthO/u3kcIpD17BqqcHWTVWOUzlUvy+wrla0o87mtDw+HFBJfT0jw/kTsjMraIxF1lAfyKjBZnd4bj/pYPmhe768FFb+vWrYppGLCfzeqOxfy73TVn5EHy5XpBh7Yg6rwPt+TOiQLps+3CCHPobG8q4LAJwW5L6HvWOwpDt+4IpbYBvw551hx3O8/CyXB8YB2xEOCEeL0Bwe0Xdb2ve7n5e3fNcO5XDk+ntRqhBAi+n1NTzBCBlG2B145XsulsqggwbUN/UN9I8RUmeoboRUGgV7lOXYL9n+PIu8XgZlg6e4vsRu+itfpjoxuYHZYFaY/mIbxO1/5rs01d4ZHvukbBRDxtv+Ct8NtElzJ7h3h/MHMOqbM3ge3ztnw+SbfsYhvEwneSXRM57fZ5atCmbXWIUsVTmcrs2L+YP5kahyEvb7A9ePIiNJQKQsqa4/2I1FPbBTShJ3hTybVTYlWHyHkEgF2+/ckQWhSuQ9Pz0fJau8YtAWnEmyMM+P9utCQrK7nlxPLsS/PtPUfIyCwhlZRFA9oR4sBrekvPO73n+X05nKPCBhEmOA3Dmi78f6+lic4NLTBfwvq37Ufn9r9J4R83mYl0s+mIvzGIr4IGTVIJ6TY+LmdADv7f41RZ/2otqETb6Dqz4P3RWuOas9D683b0o/qz/VdUqURgwBzkz078fWaBLtWaeSizxcC/NgxcxWd3cFC++Yh4Ar2pxLV9F6vS57gEyKc2d+tZPcb3+Vqdv8V4z3KCWf9l5WL9Z3krzzE177e7ySYQX1eQFlQlYAqnM5WV8H+4ExFyWSMmfDsGvk9WSNKb04PItcH1ZFfudqjg0gsDH2/bGAXlMg6/cF741HpECQZgti0HR7/q1kDxB2URagPUvk7WW67hnVpGZTkTHgvt4DXHgKMu8+8dHWtR7+SD5Hqisg+X7JX2J4I7f5ZnXJ4O65I/0eJ8yywUp2bSKdt1Dge8Ie4xpUD2u5iQHsUD/hDpLAqEhY1rde2uN7rRBv6ebcKwcegXwqGP1h+ZPtpMKF8TLNcSV+kjUe/fptuefreTGz13fcbo9ibsvpPwd7689ArHp+vc1v1DX2VTo5pvmOde8TPqfx6SYDFfpmBfpkXea0TqmHvBpb1+fJAwIPsitoki2p2f9VNEtxQhAFkmxamJQKz1kiI+NpGocE2DbeQylRX3CC/PKpwOl3tBfmDGePVEDw7f/6cN+TXWNCuYAj2I9GSKvIr2ouLkGMMezxahCRISx87sB95fyJ2Zn88WpQ5PztkCGLzdjgeEpu/92heXMLCPixW+XtZarvi59Xw8oq8V8W/AyjqG3q4vqEfmhOBoGmVsbG1c+B0aLMTmJQI3QUFRviVGx2cQqvly8rru40PaEVr7JibBDcT4pcPBvz34gP+c17/nbSlnzeYBP9y+Kv+w2AhmChJ7E95RQ21DulN6p3z9U5CejKyHCKqQmZHMI0Iv8IptfWfgr0kFbm2EdqsPQ+tU1VmgfFnHPl1mwDDuvxElq/U7uAKO9gpzdqxyjAqXCAWZHVSLZId1dzBZbfVYIharOp86jvJpKPWSI4E7yQfqDo2EUDUV4UJzqaPt7qJ6/ZNZw/DJH9wKltVouArSHpuix94bzzqU+X93RuPHcvUHjnHsPfGY8esJGlZ9Vr2mEWhimzxiE/i+8ernSp/P6v6bLj3bXsYrurvRCWM+z6njY4uZuh6/izU52v3CtMSob0411MPd834oC9qiyrIk+qMIbCPEKKPT/MS68WANsPrGZZBweN+3qfBxHEhmAA9VUXI8Afzj22LjT6zUHqT2gSTX0PRlfLtmk/1Vs0kZ+pTPRkvcW1D5/Yp4oivm+TXDMNzp9aI0+e7qGm9iwFtxvy+4r36Ae3lYkB7JPpwy6wq8sR/K9o7fG1eO7bXK7kB02O72dK/a/h9X9F6exEyu4LdDchyVf01+3xbao0UqMBtq0XiSWVOZaubClOczW1WjlKZasu1N5Wp3rePZacyVSX+7fXzFyIek19DBT5/gcsiRYMKD7BM7RGNyO5FohVaqJbssct4ekWhimzxJBmL7//TJcBu/J2oArXhgyJoGOnNIK/vPYTgidBun+8nAbl+TknlB3OjCw6bovl7A9qMihqj1u36c/H+vojsyDME7fAH8wRUgY+PQ2UWQbmSvmgS4TeGP7h17BkhhODjzPqRiPe2aV+GaiwRpBUE1YnY4eXos3teX46APL//rGFfEOjsNqwP3E9JJ+a1hWbC6d9S7bsV9Bt/nJjTSlZPsBuo5g4uc9QMfahm9zdJlUUIeTMW7VivZM6//svKxfp28mfVxNcRiOX5CLtQ7VGmspvOVS+nspV1L1ThdLa6av58VcU5/zgyUmwHAX42PKJ0PBGSfkwjqVL7Bux3LxLdIvlvZVVs0VRnUagiW96QvS4B5vk7kYWVKyMjalBrksaeFG0+X1gi9JX8I7fO95PE0pRvlL9ny3e8fMM3bb73IV+3WeuXdDGgzSgjrQFtV+jmmO8mWlhRgsDrfl5zbUFrkxCiEuEKpO/XC4gRUnJwFWB/h+LkV6z6CPdvVGQ7EKhXfn1bUJ9vfMB/TqSajKQK8053XJvTKtfmtIrqUWNazVG7vb/VzN6KBPEkEmGu7l6ZJZn8XNtJFCG1RpIK8O/1NvUCi/h/U5nqB8uLm+YJsOJQhdPZ6mo6Xe1FyCDqqs63LeS3sdQGYiGE0F4kNopLP2aov8K/m3nHmHE+XNlaJFkCzwtVZMsbsufDpnqr/J2t6rNp13tV4P3G6OX6c30XPtlHttohhJBznNneCcyTCK2P5XdxlUpdALA8+eUCv7Lb7NczDeoLtBtlkr9PKQn2cLlJhD3q520ejeaoTbKO8ameXCgEE9PQgC2vwHo6R71oOYKr2PuiBVuxR59FSTdC3vl+RQIoeK8DLedmjDm/VP695axFcyNpOTKvDQqT32/6wPYFEVQhvboAAmpPanbiMHsQbhmpVrho+6ahtpN8oNLnSyK+7VB+nUjnqpdFSKx9dNk5sqxwrao6z+L5871tJcCKVWA7nOnHbo0Qi6jOOH8wL2lXSeJ5cboIMH7/XQKsDqIWN1LoKkLGaLOzGgmaCG2+55EzEEvX857ZNz8pCI05EhJbH05+Obh8wzdtxLn7jq0ocxIWNa1HmcrjxQporhXe2yHmv5XzB3eKiisKZtculJgCx5JF65PM/SjptvQCqsagWQTYk2tBQFMWjsQL0Z7ha/PasduBV0rIr7Uo49CN/WX2VlzwB3OHJr3fSUy44fNlEOE3tZ3EZv2XlYvsI3QPpPApxmoaL09nK7OC2yGs1qAsJ56NjMz87etLTGvS+vBwSCGh3X02fOGeseChWiq9wE4Yycx0j61MLdD+ROyMrHJr7X8vEhs9LSpwOwmwYVNsJwH2bS3HfGFcY4vsZ3PaCDDV58ue7mPa6yyfL1ci9JX8I8vza5Foe1q0ivP+LCEWdKOus9NUfaQ8wZ4sgU5hJwpt7edl+XgTJR5/cCdBhpC2rA39kHYBq/8U7BUff+b3/bYbStKfb/iINzGeToME/K561XFweop5/L40JdpQlP1b1+b9wkpPNbN/XyEJXeXatzrifch73rWdxKaXxJfgBVbeVcwDm+eWb2TZUU9k+ISlA7Oo3u314eGQRT5/HBlhKulKun+HR47Wh4db+jY5SLCSB27L+dBHazl/dhC5PohTamVrgfYj0YcypHU/EvtoT3EW9TB7rQK3kwCLPGxWcQ7Lk19ic3pUfjanhQDXNvRZmUlC8/6RGZ7KkwgdGntStEakESL7iLsqsCSWY74wtz/4hq/Cm+ZKQry/L+Kqn7cDbpyfBhPHPInMqvp5OYlwkccf3G7Ih1ER1yvaqDIkFMGuLkOV39CV/Iz9CWG74+6XlXT/+o6dUyOLmtbjxrgza3lZfyZac3Rtjny9sYhvUy2SQCp0Nb3Xq0qJrWT3hEY+FfiDuchvfSeZ98Lna/YG32YR7dp2siXJ3kuks5VZQV/vqnNbUv5ggvd3/dzFs7gwq+L589SH0dIEePgC8fvHky6tohfYIr44AmzhIBILW2PRe+OxltYNXigYW24SR2RrkfbHo57YB7wkW419itx3KyXA9ElNFZ9NpxNgoz0E7vPFiibOe8EN/ZA0Cg1JhDaqkPKNB3D6lScR2pi0nSR3IYFlMX/wlqo+TzeSnanVKTD1VzoRuqAnHjoDpKCKq+kP9rQ2idcf3E6Y9UfABGj+J3rUfTOIMCsUwQ77hVEfyx9ZF7x2+zyYv6Bv+CqUcDxMB7j/XLsedsUDmicl8qI1RyS/L474nhBmjXtMUGkwFaMWiYXD7EGY93gq2X2wb79u1Bq1xedb206+Y7z3V5nPThZmQvQhN2nNVBoKp4iazPL+MkgsVV19NjLySJwAj1CTVfn8xfJhWBACbOEgEluQqT1CSMH4M4GAy6rAMucEhZcEeHnyywVR4quSAC9N+UAPTz9VAlx7HloXvz/Ud61pQZwQQ0uFpiZC20SP4NVCL2RMuqsAK8Ry7MszhpeX90sJe5rEQtzvP6vcExjQZhY1rffBgP8eFxkWqFJxohBKnqEQTnAicyGYmPa6Nuk0+YPNDl/B8WTqhe6INb78fmP0sjH+EtqsbYQ26xuhFd6wK9JYjD6Wb5t/FSEzPR7/fW9YIVpCswhZAfGAP9QO4mtfDwb899z8vERqjq7Na8e4iqOJeX8YSKbBN75mz68S8lvJ7IP/bVaz+4e0sKpqeq+3kt1fpynTlcz+LrTrt/7LykUvfL60cWbg/pPQz9AtiIwxpzLVDyLp0vb3444FUmFE89hKVCAx/y0/G76Qg24PMq7NAm0E2g3IqrWkcWXZROiDyHXX7Vluky3TbpiTIb2qCTBUuPrUCHB9I7Si0udb39BXeQWQFkV3LJ+zfL6Xrq712MOuIN3BXSiG+YWVqj2SQXzAf06lPzge0I7iAX8IoUbH6AxtDFOVWlQApDvzKK4YNdnttdVp/uD3G6OXSQSz/jx4X6kvGPPETzWCVwu9LC9IO4vPW3MCfDknwTV+uTenxdvRCeS3sVzo+RauOZrTWiotJub94WtzWoVoRohbAAAgAElEQVSHQEOPs5rdP1RFgKFktJLdX7e97xUrMKuaO7hcye7PVo0u4dXD7EEYErJlwRxDdpf4bifevN9JTFCOAeQ1rm0n/gU9Lx6kc9XL6Wx1NZWtbqay1c1Uprri9PDakcpU7yutOspUdtPZw3A6W31FIMBNDxXXz108+2zkwi7Uo0s6D2ECPHyBeCP5t68v9TwbufCSb3vyadA8CrAK7I9Hp4XVX0pgFSu0qxN8wG6RLbGcHW8IsBefTScRYEOpFfP51jb0D/WN0ErT9gDj06RjaYRZjT152ezzzc8Aq5COxsbWPLN0fbZYjvnCkLFoUoKcLBYD2ozKkcn4gFa0h1otalpPvL8v4iTDFlmWgTm+zDN6DLrQm6qyp7VJhWDS8xAhEqyLGK3CSG68hXYhDG3KVBnhEBp78hKYBtgWT/BJSqWY3aGjyK95DVD5+YjWHDn9vrzEF+odtsBUfzN7H6qZ/fvm6zYZPmHQeH81vdeL38/eCvvdfKjvJJMe+Hz/VdtJPqAcw23A6LNrKnA6exhmJDQfOsln470GaeYficauk2TndLra26Qy20aoETLJL0fKMm1cWZQA40KvEDLHsbmPzVgyf48InS4CTCOpkOqmT40AG78z1RPfLgEWOx/TKid8z9eyPYLq27IookmzzzcfgtQhdVXfNmGZGoijZvyZBDM0R6k/eDGgPXIqQYua1hMP+EOqxiQLIt5djkTmgp4cFdqH4DJCvNrbAey88OCezDVeKxtwQH0aSPcH8wJahO4MSPAKoj7/+ID/XLsJL0EFBj/EoCUyi9YcTcz7w/ZtiBLfpkAsRm1SlZG+jPPWYt+T2fsAVWRp/t5KZn+XR9klQZB0KvH5No7hl5WL9e3kz0Lb307+LPsZIMQ3ypzKVo6IRJig2sK3XcU+HDkhws21R2Dl10laMUFTogTYGa717Pz5c6LHRdomL7wmwKIj0DT1V3b8+TSOQBuiEc/2eCYtuwRY9Hz4RRF91xlmxT1hyJgaDF4t9PKkQnf9vm3EcuzLM5hxSOnkQSgWNa1XpT84HtCOVPh8cZCuMuJIZH6qJxc88gcrHXMXAfHiQ6kwkhl9YVwgj1R2+4IvhJjRmU5Fp6a7Q1XgCbPKCEcuJwRqjux+X1XE92Tb9FqkSnbvSCRcqpo7uOwgsquQz84cY2aEaO19qOYOiKO5ELg+8swgqLWdRFFGea5tJ97InD9Cwv2+Hw3Ft7WHV8rfm60cQbp9EeLz1ToXzmerggBL+IiVE2AvPcAIISRGUqMPSduTVX/3I6crBMu4R+Yjv6r23yXAbMDIa+t9nUjGDC0IywLE66uP5Xe7484dhIeTXw42Uuxu+EC1PioRD/hDSvuDA9qu6ooUFYSUN5G5EEzm3CTA7fYC1zZCm4ALD7HCSC78gO9JoQgs/4c+lt8VK0l/EumkC+ViwJ9TMalh5gEomQCBPvQyAqhOxpqdacsiNUfX5v1bE3f7z0zMawtCfmEJFRg7ioxfq6TPpJLdn+UJvmIRbqUk2IXRZzPE6jZxnzvJByoSpmUJsIIu3lXcdo2e38qRBBGmpnWbvl85onn+fNP1TgUBlkuSVkeA24H98WhRYEQZe4+ipFM4Em3JSHADyggwV3XgiXjUJcDeEGCjuQM+2Vf/KdgLvO/EiTKr+KM4waWraz2k0Wfjz9tbhdkFBap6gEWxGNBmlCpDijp/XSCi4ETmQvCxr+CGP7jNHuD3G6OXVV18hC9orCd+FE8yC9aF7tLVtR5L2Q1dyc/AfSH5R43Xjj3xpDuRhkVN65UlqnG/v2nc58GA/54smWYFYE3c7T9DrBya929F5rVBoaRngzC7QnxNFZn6oIwn/bmS2d+VJaRmgBVHtZFYn7CF+k4yqZD4/qtO8eW+30lMqEyYliHA6WxlVmpcmZDG3LQPcXXZUJgJ4VvPhi/cU0A0mx7IqCDAf/v6Uo+o79e+RP9O24m9SGxUYAS6ZfJEuv/XWuNRTwQWdQSYw/drE4+6BNgbAowQQjglF5ftYjR7CAomHBY5fPBVnlrJ1kUXCCHLH6xAaTJukOVrjwwC6toIMlSFfaonwwVF/uCnwcQxdBzbLYh4eY2LF77CyCDULviDBUiwXfl1KrhGPzDMH2z3ioh+zqoga1UghdDRktuJ23IE37Eg3ONLIaiuEN95/1bkmz5Ql6Ng/RG4x9oJRoAWt/oMgQofMM3nixA83VnlPmmQTW52+oDNxOgPzj9Py/X9fkxlqi05Dc94k5WJ66RzV5kHmN5FzE3MVePbwT9H7gzdzN0Zupn7dvDPkbtfzypLthfp7d2LRLf2IrFRhAzyq2L0eT8S+7g/EfPkvkMhAWYGxlrLnqvRJcCeEuCwfXqvpdboefC+uGWutSYJgsbE39iT4mmwtnXRYVjUtF6Rm2Mb+VXyC8sV9VVCjVXhD+YZw3YDtLEV4EWJWGFU29BnVfmDIZ4PHFo74VrDDnjCEtodlLCoaT3SD6MIhDXu95/l+U6LpLmP3/nK58Z4shrSqx1fm/PnaMFcOAj3/wokNrPCtmj74vubakZ9J3lbgoj+Wv9l5SJl23nXEqYp+6VBlpSms9XDpu0ZKdAnPzerjE72dxgWJ9yVlqwENeT3wsdnwyNHf/v6Ug9C6giweXziIViUWiUI7g7dnLkzdKvlnuTu0M2Zu3+6dXT3T7c+OtbR3aGbSsYl98ajPiXkVXLtjUc9mzpTR4DbR/a6BBgOIxCrWRyREUVkg1HHxtbOtSPctItPDPH+vohI8I4KD3AhlDzjURgVlz+4EEqeKQQTRcF9ERMeVQBSKaSOoJIrjKTGXRoLrzbTQFd3W8dgzLh8mj+47RH5KmqPaMQVZH2QnOYQ8fi6SnzntMrEN33C44DCBNg2ogzp/eXwGpNIsFQ9Un0n+Svf+HHyXZ3i863vJG+r8Pl6rv6Cxpabg6pI70llq5vpdLUXISPJOc1bleSoPbKgjACPjDxyhQAbSdBCx4RLqIbg26HZc3eGbu02iO3QzUcIUYlv8zJfLwuZSiRlyyP1F6EuAXbrs+lUAuyEpC0OmztT/ynYW9/Qw6prM7voggkev6DqXtCCnnjoBQm2CGpBT4LGIP+q/zBYCCZKnNsHbVsEhvpKHxsG960peFInGXhwiNsmDcGrhV5Y7dGTiPO9WH/w2JOXvMfgBqS9uoDvJPEhV8CfY/l8oXArqMqtMWcapImp3R/MqC6qZPdnwQFYrYv7e2RH/ZeVixCl1nwN0edrbkeZzxe7JOqPUpnqfda4cUv/bvN6Zd8ey0tsku3Vxv6zlXUwAcZ4gIvnz/cqIL8vncRVOMHZEaYlsz1cOjUL3/5x5uydoVtFHKltIsSQpYgE741Hc+0iv6RgLbfQJcDufDadToAlfb4tzSP1n4K9hrrsFG30IxGBpIsuhLGoaT0QL6IzbEcFXAujIq8tjtqkMFCpdrX2yH6RIPl121FhJBJ5L+L7uHR1rQcSg2/5g53ekIY/eOxJsZNCE5RVlVF8uy0qc0B7yePzhWBCoOaonWPOLEiQUowijK9MsqOa3V8V8QLLnierFqm2k6B6m92uVWKRbwjS1K5eh7JrqLavmsisqehagKY9G68zxplTmep91kg0qRMYIQkFeHjkaH14GDshIl5hNIKdGOFOqraNY0Mx/6dbIS6CC1jzf7qlZJyyHSSY1ivsFroE2J3PpuMJsMC9JeleFSae6K5mA3TRRQtMfzC+NimguUocCnpytKAojAq2EsROPieYXcXBxz63PheisktQUttRYcSxz1e499Ng9+ma/t6X0IArq/aoU6GMAAc0qqIdH9CK8YB2JOLzhUJlT6/bY84sCHtzqf7gfepTbVN5fsWzXciotR3/r9zaFYobW65tJ94wfL5J13y+tpHr9zuJCZ7zw4ExhoxNXk5nD8Pm+1Yd2+L3Emcqu+lc9bLpG8YeCythWoz8XqD6QlUTYIQ40qqHR45ER59B481860hVMJbXJPggct3zusUuAXbns+l8AsyZL4OZHuRWkQWmBbvoQhqLAW3GPjoZD2hS1RsWnurJBVY6s4owKuh6GkwcF4IJ0I10IZQ8g1WqXa49olwwGmQS551wrcJoI4RVKkwfB10NFvB4mF2/TePNpr8XWHvUfq8vCSpGoCFeXlWjzjRE5rXB0zLmzIKqMWjc2DKLtB5mD8JQNViEADtJcN1Wi2SSYYbPVz5BGqD65nnOiwYgUV1lbidd7ZVJkrYUXtyoNS752Y5nnCFTJNXXDjcIMEIIAWqRXoqSX4SMVGfVKvCdoVvKrF0HkdiCNwQ4Cn6ArxLtIMD/E/X5VO6/S4DFAAu+0ned93mSAarcoslnjdhUeTQ6Wc5Fp8pbsanyR9xq9zGeFiwGtEeLA9rHeH9fi7eSF3/VfxjkGUN2oSOYtirQ2iTzPCoWgZb9XGigkljzImP5g3FP3FyrMCL4g6k+ZIHkv5bet7EnL+3jzaErT+4Bx6KPOjE5MN7fF1FGgBmj0F5gYl4rnpYxZxaqnP28nOsVyx9cze4fMrcD6CC2CK9FfnEqcN0IxCKSzvovKxfr28mfXfX5ml5f0aRnEnhGlp2VRs3bIXqE4STYqE1aSWWqK/b9ss7h2fCFnCqCipDAuDLH9tfPX4jIHBsNLcFXCte3Q7PS4Z4WlNYb4clvSdWx8qIdBHj5hu8hQggt3/BNdwlwGwlwUy1SC/FtqTWq/xTsVXL/KWCb+yxBI71dAiwGVb5fnHrKSmc2yaZ3/uBgogj1BxeCiemnetK1L6ZBXtlksvnJGj5AQGWFUctFz7a/povdhn5o7VOk9ujS1bUeoso7ls9Z482GPxhWe9RpajBXVREkECugHano6JaBqkAsY6Ta39ZffMpHoVvXKnHfABUacg524ksjwSTUdhJFL8adacqzDGApz46RZac32BiJliK/LWQ7d/jIIOeHzH/jdFLZvHApzU3bOnfxLECllSLYTsX6x5GRoozqe/fr2R5S8JVCFVi559CNkei98dixl6nPTqgjwL4S77ZElpvnoHK7p4EAI9QqyhhiSKhlgsUIuFJ3nylzzJ8FYpOlBQj5/RQI8Gk7x6d6MkwbQ2YRSfP9nvmD293nixB53MROJsmKK77PV02FEYkItxLs9xujl3E9chDAQq/yjZux4NVCL632SB/LH3WiJ5jouZclwwNa8cGA/95iQJthrEfxAa3IWo1tMVRmBaPQxci85rm3jQSXleCPlezeEc4fDCDATH8UjvBCCbDp83Wt1sg27swVclXfSd7m8QYL+XYdoVTpbGVWZvyZQoSZAWkIIfS3ry/1qBh/5iHSMgTYlly9S0qNhuLO0M17bhLfpqWoH9iOg8j1wf1ItKSK/O6NR13LG4FAGQG+4St2CXD73ysC6x4S10pS29Bnxe8x9aP6hr6KtdJ1VWA6opPlUpcAd+Y5gjy9wUQJ4g/2jAQDiLlboAcOnJBJ1oUG1+crVWHEvcTj7Om9v+TxZv3KkwheOc4L39yY4XAziwF/zhlcFQ9oR/EBrbgY0B7F+/sivH5bpT5gL1dAe0QiwxPz/jDvmPPEnP+h12POUPD4cmWJcDW91wsJxIKkS5NUXxoJfr+TmHC91mgH3utb30km69vJn3EqtKkcU/3CZrKz8MhymlBpZP6MkjANWWz118KzkQsvQQR1eKRFLTEJKez9CggwQghBfMg0mF5f1YFXngViOXEQiYX3ItGKzNhzu8kvQkoJMPc4c5cAdwYBrj8P3scFooqqvk4VGTdqTasA7QLBSGEnkkMRnKZz5CatwWSONoZcCCXPFIKJoodj0UxirhrEcWVbKh6UxFL8umE3/MGO423ZLw90PX8WPN5s8web49O7NpLMPd4WH/CfWwxoj4g9unRy+BKauLyoaT1tJ7NSRNiPDYGLfNM3ChiHLrZ7zJkHHoxEwxfDQ2wHiQA7SXBtJ/nAdZ/vTvJXiM+XZ/SaFZwl69+1Vxqlc9XL5lj1KkJNidG82+UKd1kfHg5xENXdZyMjM8ZSRXzZCrMK3P3DbO/dP9166RLBfckk1Yq6gUkw/MHw0ei98dix112/NKgkW8uTvmO+7flyXQLcfgKMAzX/hXF/at/O+43Ry/gw1W4tEhU0Mnh9stQxI3UqcFoIsJmcLKq+sv3BwUTJOyJMJ+aqQFV/zTEQqj+YuPB9vvXnwfvujEXLE2ALY2Nr52jjzU5/sDkOfaSP5Y9CY09ejo2tgcfw4v19EWVjyQFtNz7gZ+57MeDPtZ3Iyp4nIStg4pu+6Wvz/i1rTcxrxYlv+qa9VHuvT5YGY7GSkv0dZg/CVUhAlZtqcWaf+2YAqgK7NfbMSphu7F/Oc/wrabuCJLXVH4ypTUII1vXbtBz9whDIeXfVLJbHWBSGz/dmziV/b9FSdr/948xZJgl2SQV2Yi8SGz2IxBb2ItGtvUh0yxhxjh0b/x3NHURiHfdwUCkBjvnC4G3d8FVU7b9LgNXCCLuSuk8MI0Qn0SI5Mp8VVJFBWop0dLJcik6Wi9Gp8rTIDdX1ydJgdKr8ELvtqfJWdKr8EELWTw0BlldqKxB/sFe1SQU96UnxfH1DDzufgtnrh+SUW3yfr+gTPPriG4G+dHWtx0h2zj/CkdbQlfwMR/2Rof7aeoRpcFZ/KSaIVFVhUdN6205iJVc8oB2pCsxTgdhkaSE6Va44rovH0clyTsUD0Wpm/77bY9GkxVt/hBA9BdoO1SowtNaorqhbuLadfEfah4okZ5Z3FzgWvcr6PHAwFd22EmCR42bh7tDNGTfHmp37I1Up3Rm6mfOK/J5WqCZbS1O+UbYS7CtZVUhdAtx5BJjPUqcftQguG/ohU4TpdgKTwTP+TCKHsanyKOaGibqiU2VQF9v1ydIgj0c5OlXeIt2k8Z5ru8iwo/ZIdm0Vgo+p/peCnnjowTg0qDNYFSx1trahf7C8vNyF5MQnaq19vuaTvFfKCDBH7+/Y2No52lizBYMkw/zBEAJs+ntdCaJykOCXtONweotP41LVFy6D2FR5NDZVPpa5xvKg6nJIFmYJ9yJCA7BUeYBrOwlsZ7gd9Z3kbdWeYxoJVhVoZVUa4fZh9wrbSXMqU70PDb4ioc0qMPUaxov5P90KeeLzxYRb2VOl7wzd2r37h9m2VsidFrhGHm/4ppcnfVvNZNi3tXzD13TP1SXAnUeAIQ0jdiue4D1stw+YBFlCGJ0qPxQhlpYqTD02jnRqzGp50n9aCLAr48nBJNZv2NinMXLtVm2SJ+ovDvYEPJV1RqQIe5wCrYJg00BVdm21RxaCVwu9LH8wy/vr+egxhQSfei8wkOi7CZFrbXSqvBWdKUuFy1TTe72VzP6u6+Q3s/eBx/srivc7iQlJ1fcNy+frerfwdvJn2v7lA6zs/mBHbRI+eEuJgtFOFXj9/IWIinO4+4fZXrdrjVhjzdYo9LeDf1ZyTl108bkCci/YEsbKfX8pHqj6yUOGEEoSVIsEYxMto1PladltO0nwaSDAtNoj2QX2ByuuTfI6CAsHVepv62otMUcIofpGaEXEH2xXrCHAqr+M2iML+pV8iOQPJnl/437/WU9UX06CeGoToVvPkStxm7ebFgfZ6zh0moeGw+xBuJLdO3KPALfWJbmF2k5iU4D4/qu2k3wA2Lbr3cKGAk0/lnT2MGwQWHkibO8PxinA6WxV2e/hZ46eXU8WJl2aF3e/nu25O3TzkafE1zberOKz76KLLppBvEfc0A9J9UW4pGficow/2+8tG60mHPebnxxECWEsVjqjgKAaN1AOFUHhto9lzrUtBNgbT24FUpuk6Fi2vPrsWDDTm5WpwA4ivIu7kPD7g/me1ulXnkTAI82O2iMLpj94l/YahBCKB/yh9hNEfHKycXwu+ZA9XlA/sNObKkKEr0+WBlVda6NTZWmbQzWzt+KCP5hrokIFeFKYIbVGtZ3kA7e7hZ2EHHKeqUx1xY2eX7cIsK1n17sl2edr+ny9rjVqXt0x51OJ2uP0bP2H9G79h/TH+g/pj7UfUh9qP6Q26z+kqVkI9f9N9xqvSx1Z763/kD6sPU6t1/83Tf23wPte22uoS/azEMFybuwLN7dPyKRpGVluCCrmKDTEO1zb0D9YmTWGRU/ftQSW+oa+2ugk5pw4/KQgSggBCm3YfB17RHqy1KRKQtRf62YLehwi59oOAuziGDKWnLLSmQvBZE5qHx6kP/NCVJ0FKbiYzjV4fzAf+R0bWztnKcBWajOw9qjo9Aez0BHkl6GSxgf859p+bCoI8IAG6nkl1fPwEGHe7AbAdbmiwh9cye6vqyC/IqnPKlDfSeZlR40R8q5bGK8Cw/qGEVIXkuU2AUYIoWfDF+55p/5euCd6nN8OzZ67M3Rrt63Et+vzPbWoPU6tU0nl4xT2fqP+OHWf9r7aD6kPKt/baQR4KT96eWkttL60pv97OR/6uJwPfVxa0/+9tBZaV02I6xuhFYxqu3ry82bRxkp0Nu4pafew+lGD/EJEGILa/FlAhAji0phxr4eoudGp8hbPtp3HQ932ZDkHfW27SK8Tbowh01eCOsIoXptE3y4EbtZw8SXwcY4xY8jsCRFuUaFf4dKlWdDH8rsn/l9jxJmr9ujKE9DNWUeRX2tpGvaG7FMZhYZUQOFILw8JVmFhoV3TZeuTqum93qpcf3Bbn2yTFNvaduLN+53EBPP9AqPUilXg33nO19bzq5oAK08xfaa441cl+f32jzNnvfT53hm6mTP36STbR7gQrC740KfN/8UfmPtvL/dZ/yEdBhFLhyILfp/C93YKAV7Kj15ezoe2LdJLXGv696r2iatBqm3oH2rPQ+skr6+l2FKIbZOCDJtC/Iy7ggUJMFU54Nl+CwEGpD5Dt+/c9mkgwBYUjiEz19Ng4piV1FwIJqahx/M0mDimbQuK2JSRShudLOdiU+VRFdu0w+gFlqlGoj5VI/o4ZBG6kp+hjTeDa4/GnlCDlzq1ZoiWmrwY0B61+/ikV0AD/UKikWDWe63vFuahYYkneZ+6HNM9IuAmwpm9D9XMHjZl2EvUd5K3nWPF9Z1kkvU+c9zZVZ9vbTvxO1BZZh6vE+lsZVaZPzhb/ZjKVF3xb7vmBx4eOVofHsbaSFjw0ufrVHbNZGnj50M3qfVzXcDwVf8dnxaY/6gF5j/6A/P/7A3M/8GL/ZpjzjYCmVox//yDQ5HdpL8v/bH+Qzr8/nH6MkbNVfZe9vG7R4CXc2NfLOX1F0zia1tLa62TfqIQEWIa6m6TmILPo4Fv/zMNyxIhhaoIqgqSyngttw9Y5WerAtJjyDwrmCjR/MGF4GMfiAQrqD0ySa/z30olNllakFWXnKht6LPu+YNDr1QGDVy6utZDJLdjT4r2+iJY7VEee7OzqGk9He2rpfiBPU+pdmHFA37QTbSTBEMIcGyqHCZcixuJ7Wb3OnMaB7COY5hUfhFUM/v3q9n9VwTye1jN7q+q2I8q1HeSv0J9vtbrXSe+tmOp7yST9NeTa5FYSGerq9L+4EzFNWVi/dzFs6qrkX4cGSn+7etL3H24Hvt8iQnOd4Zu3uuOO5vEtX/ue39g/p82Avt3f//8za++uv0f0O34A/N/t97f2E7/XK6v7/Z/unn8Dv/tx5M/P/EDm8T4qPl9zp83vddJbg9VvZd1/KzXy2A5rw/wkF93SDCvJc9QbGsb+iylkWSVZ7vWePVnh3YTYLdfL3uunYBC8LGv4KU/OJgokvy7zOMIJqj1VhBEZ8o+5oOTyXIxplgV5r1o8Fxc7N4OGYTG8jkeUsusPRp7gr05Pw39urRR4VOvBANVYAs848+4h0vmd6rloUJMoOedsO2SSktDNb3Xe5g9CB9mD5RPWRT0xMOnwcSxbIZB/ZeVi6xaI4Qsr2/ynavkl9AtzHwv4PhJSKervaL+4FS24no39t++vtSjaBx6V0T1NWuNPPP53hm6KexJ/lzg75/LOUmrc/Vp839hbicw91+y2xAFhYge0pRV2ugxayxZ5r2s42cpxrJYWguti5Dg5TU1E36GAMN9TzlL3pagmKPoHvVUoUuAO58AWyjoydGCl/7gYDJnvwk0+4JbCK/9/6uoPeJRnlSrwvDQKpGFH1PhAXS82XjNSf2RWXvU+r6xfAvpkfX9xgPaUby/LxIf8J9zlUgzSGI84A91tIrN+hwBXmARMEacsf8+Tc8wdmyaiwgrqE1yCy02D0Z/ugrUf1m56ObIM61bmKUAG8SZXc/EQjp7GOb0B7um+ODwbPhCTnTc+dnICLdP9u7Xsz3e+nxvFZ19vqTjujt0c8ZxbEd3hm4Vvx38cwSyjdMMnGJLXnMVmpKrBeYqkG34A3P/pfo82kFiVRFgM7m6+fWE0C2VsIdewVVg/d+q9l97HlrnUYCduTFW0rOwSIMJcP0s4CYBhvb5yh6Pm+faifDSH2zdCD7Vkwu4MKynejL8VE8uWMqx7LnFpsqjEjfXW6QbeF6YCXyu+INlLzaXrq71wJTgJx/1sfyuPfXZGZKFS4SW6vrFkNLFgPbSRRLMvAGN9/dFXD0G186NPOYtA+b3aLJcJD1QIqnHnN/TirP+rt0oBBNF3LXP7R5zN5VfWp1RbSdRBCrH0td0CywibI5Mr6raHw/MiiSoL/ilqM/3ztDNe176fL8dmmU+RJv/060QmJAP3Xz0KRJhf//8TTj5pZNg3m35A/P//Kr/jrLrIY5s4hOaW0agO4AAt6ZXv3+c5g4JdWJpLfSdFXK1lNdfLOWbCaT5c34VOB9S9jua3VCiH+GUXz7y3Eqmu13AiklhzBibA6t4bh+PF9v2GoVQ8oyn/mDy2kLIHNNWUHtEGrfkHMM8jk6VH6pQhevPg/ddqU1ylJSLwBxvBtcfOVVg/cqTFi+YtPrb34f1l7mqxGoa+IZsUdN6FwPazGJAm4kPaMWmZR1jQHvZ8jPM8oJUy/z7IAH6HSKFWEVnyj5F/n80ikwAACAASURBVOC21i8UgonpQjBRNK+jeGuHAksHCVASKjn63ERg6zvJ2zydwioJsIV0utqbylTvp7PV1ZNVwY70eY3i+fO9z4Yv3PtxZKRoH3H+cWSkuH7+QmT93EVQT7cT3/5x5qyXPl9IgrPUCPYnlBBtD6sSIcFN2/rq9n+IbssNNdgCzqPrHC3uBALMGtPmxfKa/j1J3V3K6y+aXxt6R/L7Lq2FviNtR+b4cDDrkV4ZAoy+W9sIbeKIr4pKz8+6BxghtaQwOlWeFvGLuXU8bp6rSjzVk+FCMJlrUliDiVIhmCg+1ZPUm0SzNsnL/uCWpepziBHCeew35LwKlCpVGBYnz//0TcXnRhxvplQgXbq6hiWNsgFSDwb8WJ+Zmz290O5ct7EY0GaUnxswDIsHPCnP5vUc67WPTZXDkv7gYzeVYGsyxanimpkKYCsJ6xosCrfTnk0V+HfLi1wXCNlygwB7jeXc2Bcq60tE4QkBBiQ4KxvB/kTSou1hVyLL7ueFeIghRFolcEnMuNHiDiHAztcK3SMtrwWnSYTWOcZsqcFmFZL959v27t/lNf17t6uRIHD2A0uvrgIsTgqvT5YGZcfiVB6Pm+eqGlyjzMFEkTaO91RPhj0di7YvBcqvBVY/qaXsRqfKD2NTXJ7EY1n/odnb9kqxEqzs5tpZj0TzB+PUX4QQkiZtFF+uq+nMhG5gr6GcBAc05TeZItfr6FR5i0RWZfzBzhYAFcBcC5v2QbByLBT0xEMsAVZU62YHxH8LJ7n0MWqZMetPgQA3Qm7WQu+W14LSDQWiaKoaUj/uXPz2jzNMddpMnFa6Xy8+O7fgD8z9twz5tdZXX93+Dxkl2U31F1crVPsh1ZL6224CXMd3Ca/yni+oz7dV5f2u8d610DvniDRtu0t5/TfeYxSB7P1no0O4QZ4/8/FnhORIoZnEK0x8P1cCzKtAOEeOGUR44TQTYIQaPmDiDXV0slyyxpt5pg5wKbciqG/oYVJROfdFSXH4gOEPpqQ+O3qA7bVJqnp/Saqlq9VKnKnJongw4L/HIttKg79cOC9IyjrvdygWK50R/X2gUgXGkVtnmBVN5cW+3yTIqo4RITWVR/Zu4fp28meXVOS8yvP2GhhVx1B28vpAO47n7p9uvVRMQHfn/3QLPCXiCgk/pUqwMa4MCauCEVhRJdkfmP+nW+dY/990L1b9xRDLDiDAqy1E/XEabI1YzusDImFW9pFou+Lb2K7RFfwb7b3QYxSF3Lhzc2iWef/aVvtRx0CEFMZipTOQJ/7dEKxWPNWTYUXEk0iEDX8wPtTFjeXG52TeUNNGNY9jttFMwN/tMY8nOHi10IsLiLJDhQdD1Rg07vidgVc4Jdj+HmXqJVUFVj8m3CDeBP+xCsT7+yJ2jzDttaqJvhvnY05QiD60JPqDzYkg8Ii1+XtCWTK0Q8XdsrIJ7AF9hOtYBaGGpcT1B308PlzcWHOLt9elNOn3O4kJVefcDtDUIJVdnlDc/cNsryLiCfL54uBGAjWpW7iTofXPfa+C/EqrxwoDsJyAqr8IdQQBJnYJQyBDfk/GmZvVX+LYcwt5blWMVUG8lQQfmtWFDSKkEHDz1PB2uU2AO4VcQ6CQ/DZu8Gj7M2/m3K1NcjEkBiH2uGZ0spwDjXQSbtidsCcs62N5EDmVTeGT+4To0K88iZD8wfqVfJNyoJKc0sioVMo0bZ8BTXl3qBma1XK8LG9uvL8v0skEGCH5ROfoVLlC6vaNGX5+0Fi06jFoU8UdRah5IsZScUkPB09+TggXVJByb0GYlG4nfybVGqkO1aKlSJ8GLK8FpyEeQK89fHeGbubkVN+bOZkkZoUkvJmQn6J0aLngK4Wrf87Vf3tQ9Zf0WsjPZN9Lfl0K/PtcIsWZpAZTFV+vCPD7jdHL/KPO+ofPstNXBEIEmPGEPzpVnhbd/qdKgF0gv2BFoqXfUi0BlvZUxabK4ehkORedKj/E3VDz3EybKxyzBfREp8rggAlnvRDJK+uEcA+bRxeq0JUn95zjz87XKCXAFDIqmzRNW6QQLl4saloPzbMMIduqiL6K8yFBUa3RFmm6guXpd4MAI0TJRAglz5BUXsvrWwglz5Cul6pqkfjJaPJdfSd5m7VdGWUZs5IqzrVd4FKECL4/N3D369keQZL58u4fZpV49u4O3XykmgSfJj8wX+evY2S5f/6mUXUkPz791Ve3/8Otc8SOFBPUX/P1bSPAOP+vM6WaBhHfr8oFPU5e8Iav1jZCm5+9r5cHIqSQ+R7bzVCXABueX/UENME9NkgKeRFdKsJhcA9TolPlLScRjs6UfZDRyuhkuUmRNskwNsUWB6da6hwTZqG2oc/yJPQ5C83dhK7nz1r+YEL/r9LxZBoZVeqTVawCQz8HFtlWQfRlzyc6Wc6xRv9jDM89BxHGXpNY3103CDDJy2upuAVi7ZHhF6ZkKShJa4USVXOsGUxEazvJB2rU3+Q7/PYTm6chGAs6uthMgr0LyOIMozqC+ny/HZo9d3fo5szdoZszrA7guy6kUkN6h9sNf+CbERmvr7UdWRXZH5j7bzfPs/ZD6gNGVV0hvb69BDi1wnOsTkAJsDXx0ZzuHJzmVXydajHr+Jbyo5dFJk3gBFjf7fp6BeAGAZbZ/qdJgAk3Y20gnoVQ8gzx5s9j9RcwSdCiLEGCdkTDrvQr+RDeL5vnDvkAXbgUdAGLgORtdsWfS+joXQxoj5TvSzIxOR7wh3i9u3G/n5q8Kn9OfuHgNpv6SvTsNl4rEWLlWMf2CaCmfRBINsQDbCXm435WCD72GZ2+jxteOpqX96/6D4PmdZBwXTO2UyDZRxRMvdS2E29ESWjTdqyxZ9tYNGTbLNLt9P4aHmNbmjRhDLsTsJwb+0LgRnbb6+MEdfBC+ny/nu0hKbp3hm7tkkip6kRoa3/qPym1EFVu/f1zLddicQLsXu0RQnj1lzVS3FYC/Dj9yvma94/TYHFgOR/KAYgqPuSK0hUs++DMvBZtnxwDn+DBGoE2MmiC99lb6gKLTiPAkERf6PYxaqDnBLgQTEyrVX7V3IAp8AdLqTaQ0UjSDTIkXI3mTySBFhplT0uGgu3f4L9wLWpaj+lLnTGWPxcf0IqLAe3RYkCbiff3RUQrgVSlQDcRREdHbzzgD6n2AMcHtCKLiLLOW1iRZgViBbSXUucmGOxlBhW2fCdijE7s65OlQcluX+L3j0SAY5QJjZZRZluis5mm3/wwr+nnhCBAM7eAovJuWftW/QDSAsuvy/Lf1neSSUfo1a/Wz97vJCZUkt/aTvIBJmDr19aj6gws5fUX/CqOd5M4FmiJzHeGbhVZnloa8W3d3k3sgzQQCTeI+COTMDNVY55Uaq8hU3vU13f7Px3b+i9x9febETfPE6v+Onp/naj/kD6Ek9hmMi3zXtLx8pzv8poeZqi+Lb/3oF3BdEWZHKRHIOXcD9pI1jrVDSKfJTqQAG8pI8CO0bp2EGAXvLdcTw4LerJCI8xC/mDJ4CvBGpZj+827uQ3q2GZ0sgwe1QtdyT9iVAYJjf2pCL+K+/1nHwz473ETx4A/Fx/wc42kKVdlB7SPi5rWK0UyyeRzl/f8ms5V03qUKNEBjajSyG5b9Nxo11GcxQDz/mnW9wtIhLdihscfqy7T/PnkMWYj2Zl03WpUGlFeY10TaT+nqciytUgskkpSf+s7yduUXt+GR1ikFglPfhOblPcwPcleg1B7JHwT6zacicx3hm7tQny+UDLqHKV2qsHfDs2eYxDnJpsHJECrU73ARu2RIPnV5v/i3J5E7dHf3TxPvPqbZt5v4BKj3z9OX4b4c2Xea76O+3idoJDZpoc/y3l9ADoyzVjYh0pLa6HvqIoyp9WivqGHvQ5P/WzQgQSYXc9hdcAyiJRTOfSaALvRycsTwtKUZhpMlFj9wUAiLO3XgzzkoJDakv3mnbItsErDJL/mGhtb4yJb9Y3QCmX8menXUKaWBrRdqCosq1hiVUzF3b/xgHZEI50ImaouJal5MaDNqDwu3L6kP0vBke7rk6VB4HeJOV6tIiSLsYjfA0pmwRYtz8Cu0JKuwdZrRMMJlajAbB9ww/trEF/6aLNTNeapRaptJ95gjo9rf50A7vTWNf3fuLFIr2AjlEeQKqFvh2bPgVVbIKnF1SLRkqZBXuA/zghP5LgFf/9cTtW4soyS7GbtEUL4OiHQGDK5Mxi3wsrei/H/1h6nuB9KER9+rYXeIWT2+a6F1qWJLyEwbyk/ehl0/TGPhwf156FXLfeQ3bArebhBgC0PWMwIIOLafswIZAHduDHJssM/KntDxosCYMT4qZ5c+Kv+w2AhmMwxCShHDYc5HojZDj08y/DSYZSXYKJkKSsywPz9Nm4kucaiJ8tF6+8X+z5g7RFCCFnBUKwFrUWyo76hrzq7gmsbIWq6YVPnrMIFSUh+MOC/p3q/SldAe0TyFSPUnN5MC5BypYopoM1YxFt2+/GAdkQ7Txo4JyyY/uDoTNkn89CK8nuCOc1CVHmZD+tOrnPk67DxGmZGA6EWSfZ6CKktqm0n33EmO+et7dd3knkQ+XV2ChtkG0qe861n1h4IVaF4XIGEAyQ46u7Xsz0q+3vtKq09lZqlQIMrlAQ7it2CTGCVM6zKUJLFfMQ4JVk16j+kjkQIMEII1R+n7jPfSxilFn0vtqv4cVqovxZSfaZa9V3OjX3BbbvgvO7Ufwr2Nt9H6kfd0CsFECHAkDRenoU5JvnRO4y6wettk/lcC3pylKkk2PxqJ++jJDUDa4/M/dOCrioQJbkQfOxTVfthAft3YLsB5wzjaQTumKrXMfTG2g5dz5810p/zjV/aZD9wnvsXu3HxMsrMaxv6B9KTO1LnrMrl9OQ6Eff7z7ad5BKOm6ViY0O8CCqqG35npecr6P21wHutM19PTUuPTZVHVfiDrQXx6NMV2sRDasaCeb2kbiOUPEN+WGgjyRgSreKBII9KCx1jdmyfSJ5r24k3zjAr3i5h5/7aCe4gGwElph0wSafyxOY7Q7d2LaX27tDNGZYCbY5LQ4+Dmo3gNSTGlf/p3FafNv8XUSXZzdojC1AllvL+sEFKT4h07YfUBzOoinrNE3kvlrD/b1pY3TSDp3LL+dC2TLqzY20v5/WBln2JpM1bi3PypCGmdDt+1UGIAEPGlOUIMFMFZhEj3LnyqhgynyukcojkI8MlNfN4zqBjfbI+Nl4wFN4mj+/1ydIg9EGL5fU1yXOJN/wKh+DVQi9BBT66dHVNSJkzvBz44Cta56zy5XJwk1IiGNCOaKPMCAFGxQnE2dPPnO/vRyrNGiFYWjqBCG9FZ8rUET3zeyz1kBKS/GyBrNBaCi5eoS3Y7BqUB4KUwKsTFRk7Ss3xQJIEXsIJVHQbEyb1neRt3OhybSf5wHks9Z3kr7L7axeWASmwGBWm4xUUWlCWqgUZvb4zdPMe73a9+HwgkAmrco4rq1SSnfjqq9v/0RuY/4M/MPfftvVfbo9Mf6pgenEBywjQavXsLq8Fp6W3nddf8J5Td+xZMYQIKiZhlERMRImmhPfsmHQDx0usZT5XSPXR02Di2F7d4YSV1MzrNyOP/NFHBd2E+W+GedPsDOiBhvGQqldkEBrL51TVIpEQ9/vPuq368pIsFf21io6R7fMFBGuRVO9FTetxY9Rc8pyVKCc8dgIRgmo+bBK6RvPWlJHCqJ4GE8cNlZcwEm1NsLBqkRAyQ7P05IJVqWSS3or1v25dNzlHnGELU4tU2078juvwfb+TmJA9Bmd4lpcQqT0yb15zhrIT2l7Oh3Je9gBD8O0fZ866TX5xI9F2mARcTH1mpFh7BZW1R6I+YpyS3Nhm4JsRtkI9V+nT5v/SJcMwKBqFbvn7N33GKgK02hq+14UJUSIYY/h7rQoiGaJp7gOsNEDUCx71WuZzhRNQthLLozSIBG+pGOVjIRYrneH57KOT5Zzdw816rzPxWwaLAW0m7vefvXR1rYfkByZ16fJApHdW5aJ5gttCyhsk0J9j+3z50ptJKrIr3cdtJr8IyRNgcxE7fS2YtUngyRrRjm5ypZFhI6GMQldOtkFUipssE6YaTH6IKJmC7wROpVUwCt0Itar/snKxvp38GdfdWwf6hAGrbV5gVTeksjemy7mxL1R6imXDrgTW0d2hmzN3/zDbO/+nWyHp/QPSrN2Gv3/+prD66xhX9ge+GRFXf/G1RyKE2h+Y/2dvYP4P3nyCpxcS14Vt53iysgAtc/vtqF3rAgMpgmqSGvuoanSyXGrydCogmjGjRiOHG4mNTpW3olPlhzxjr+Z4LXZ77SDA1k2YrN+WWvvBUqIVjPNBwBmoc9ziDya8V/TG2g67B9dSDUNX8jMqa5EsdIrKSqoRagsxDGgvIT5foYcGAY0YYNYRI98KyS9CygiwdY1ldmqb11TixA+kg5gG0xZCV3AJpNX+gJFSnbSAEIVouzwxw6gbEhyFbh1ztkN05NlBtH+vt7EOSaT2CK4Qt3r+qMdi3SCvhd7JqsmseqLTsNqdBN3Xd/s/hQlr//xN5/ZUKskIIeQPzP9d9Pis7XrhKVaJZyMjM8+GL+T+9vUl16cDuK8NhHTn5TX9e9lx58Y1pcOmTLrowhUIEGBLXSiKklGKwgHYb2sgl5uIcQTqOAN6CDfawjfXi5rWgxultcghKRBLv5KnelNJ6BTyuzhATxv2SgWOB7QjVuhTfMB/Tj5ZGa8Ctz34S4Hn1wmVBNj+sNGZrI/D9cnSYGyytGAeQ5g1lQMFZbplCyH6qDRrG9ZrCsHHPgJJ3lIdCOgEq3aIk5hifb4IWSPPxC5hIZW5XaB0f3pKggk329jgHAjMnt+2k1iZJXLeKtEptUd9fbf/s3V7cuS3WRGme4s7BX/7+lLPs+GRo2cjFz4a/ztCtTitn7t4VpYoQ1TbpTX930troe+c711e08PKri8dkDb/2WFiXvvoXO0+ps8FwkQUo1pAQPO4gZdLKrDpFTyOTpUr0anyQ/tNNE+gjjXi7hyH5k19toNa+2OqhvqVfIgUiMW7v05MHyZ5ZL0g6qxqprjffxbi8wUSTaIKHO/vi3j+uQMCvkThBgFuLI6KMdWgqLxh8+f4sCvbAz7SNhqhWqHkGfNh4pbhCSbnNKiGEmKK8flaqO8kkyqSp2n78AoiCayGCqN/D76xBSZF09JmRUaqFRLgoztDN3N3h27OmNt86REBbmsKdG9g/g+qxpWN2iNB8oupPZIZy+ZVmXnhD8z/Had+q8Cz4Qu5ZyMXPjrWbvH8eezU148jI0UIUWaBpt7ivpvLeX1gWZXPN6+/aGfP+GeNLgFuH6TJqKlKQP25kNRp9lI73mf2kWLJrTNkhzNQx7lNan0LDuCuXTOIidwVzFeL1HGhSxYZIyiwro4HM8ad3egkphFOXl+x1HEYtU6ujYGJpkBzfgc9T9ElJdw3FFzKqLT1gK/gqKjjuc56AeFxaILP10J9O/nzaR95toN3LHFpTf+3/WYU/r5WdcgOSOCORbyh56aAAB/R0p2/HfxzxFWPsWAP8N2vZ3sgqdQsSNQe/d25La1/7ntVSrJMirTIsfN9ZnaP81zFH5j7L5nt2VE8f74XQ34/Phu5sLt+7uLZ9eHh0LPz5xt2rPXh4VDL64aHhR4WEx6UYaczVPl8l/L6b12fb5vRJcDikFVDySqDyHhyogQZv3uqJ8MiHmD7fmTO2Q5A6vOxc5ySN1DHUoV5jsv0+YJJXTygHSFErkUKXXnyEVqL1LG1OwPkUWhXFWvG6K8rPmSKCmzu010/cEDbdUv1tYNgLzi2HhZB09WZ3z9FtWM8IKm8DR8v6WFgMDHdug1vUvB5Ud9J3gaPRLOI7y8rF1Uoy/Wd5K+s467tJB/UPQjEErpRddQe8dzMMo4FXreyFnoHqV+SqD86gpDPu0M3H7mqAAskQDdVLUkkSMuMK7tdeyRKzL0gwTiPsz8w/3cVydPPRi68JBDgpj+31OD1cxfPPhsZeeR8/fr5C0IPRxoTH4Tvn0qfL+uBWRceAEd+aWQ4Mq8NTsxrxWtzWsX6+bV57XhiXitOzPsb/2Am5rSSfRvX5rSmp1z290/Max8n5jSliZleoKEQSPhipfy4RIKazEGIuUgStLVEz9cJJpGljFHGpsphsD8Y6C80koMFCahJ1EJX8o/wgVh55r8TWSIZD2hHRgCUP6RsJNi5D1JdkJvEnR16pd6HzN6nchJs/f2x/p2oAKmmDvddUdHpaxLhIsQfrAJUuwelFsluKykEH/u8Cv6TQf2XlYv1nWSytpPYrG0n3jSWoRInWe+v7SQfqBh5ZpHa+k4y76hSck0lNkcUeW9Ot5u2wVmTwjwmvpTYbdb27n4928NLOu8M3SqyiKOpLIvVGrmk/n47+OeI85hItUwQiIZVaf1zLQq9hJLcUnsk00fMtW+BcWjmWHb/3PeigVsYNZewRh4h1ByUVTx/vvfHkZGi5RsW2T9Clp+3dQJjKT96WWGOQONzN68H3y2bNWtLef1FNwDLQ/AQ4Ik5/0PWa6/N+XMIITTxTd90y8/v9p9BCKGJu/1nWn72Td+p+0u3q7fmeBy35805ZqdqQY/H8LGxEk1xJFve73Z9sjTIUG2xnl3nDTTLxwhNflaiJGpa76Wraz36WP5IhABLkVaMaunWuC4uFXpR03rcIsAk0m3bt3oFGhA6pezzDWi7XhFfC1jrAe2Bk0Snb4vC7JE/mPKAccv4ObaHndsqcZqhIlm6tp34F6nj9/1OYoI0Vu1mQNayiD/PWWvCedOLPQ5M7dFSfvQyzQ9sLFgwFteIMoN0fjs0e86TWqWhm+BAv7t/mO2lHdO3Q7PYhgIaxNXfuUpr7ZE4YcWppmLEfK5ihWj1afN/gRNwfO0SDjweZ5HArUbwFW0Njxz97etLPaSgrPXh4ZDoCDQOZne4qvq0Rm0S60HYUl7/resJ9gBQAjwx7w9DXmuRWSzJNRVi7LZMcnxaQFFPuWuKCirHoDHHA/GtFfTkKM9YtIqk0xb/oUFkRy1V2D4yGZ0p+6yQLPtYZcz0F5o35zg/4zH5CAzEA/6QKgURW4s09uQlpA9YmsQRCJRypTKg7bajFok1Eqxc8WaMQZ/sVyx52lR7H5E+S69gPUCChsSJWBBID7hiHviDueweHqfctxNujzzXjSAtyHg2U6HmBa9y61RmEDJGlrneTwjCWsrrL6yfO9Wd5bXgNGGkEvzvEDwGTSGdd7+e7bkzdKvoOvHlIL/GMd3MARRt0HXaDuGqIgyxU1l7JErMnX2/8POBj0LzEGuLlEMJ9rORkRmg+juDEDkoy+4PlsVyPpRTQnwdtUnQUD6RirUuBADxAF+b92/Zfz5+5ysfQnil99q8fwsh3Bi0qQ47leRTNv4M6dHlIYhKkpnZawui2hIUEVcIMOaGeNr2M8ODCOgDttcfmT2jJdw2nVjUtF4XSFPjl3to7MlLngok2RFiUlKy0voegErpVi2S5bOm/H2qV6A5AqhMIvyI9MDh/7P3Pb9RXPm39WdE8oLVSGHHW2B3uZ1gEFJCAqKr29YsPYTZpLsN/hEU/xIwsVkFAaLbzqL9pu02PYunCdZIRhoHN8jSVyMEcXcib6I88digLryIkJCYrd+iqtpVt+7v+7nVP6gjXUWKu6tulbHdp875nLOYNA8Wh8zNpaQ50W7SiyKXqx8TrSESGUFg/Pxqna+ljnp4v+9ShbqMg6db4c4Oa7E8N18UNhGbM1M9hr4+UeX2+3XrHXoMiVm/EKHhrT3yfyjG7YUFHtV2bngK+/chMFOrdx3Mnp7m+nsoHO4lYKcOhjiJkF+MXVkhqZlkFT45OHdCyFKNsWSL7ANXv0S/d2KEH5dw7cf/OXO+j0J691vW5nNf7BsGNSjrkJQULQq4Pl/U+cFyfWCOESvBesFDgGlfD9ugnXnfEDl2iS5KjLvN/swxtysUuGQY5NRS8MWhcPAoJnJ37giu/RJrV85ONE74FF+R+cLWteWuNMay4w3igxXo6h43rVfply8AOSU+CVdWZpOJMi8Z1FqLxCDg4InQit/TDwGqVUpRhGNVSS6bLpjvhUbzRWET2vJMszlzHQ+wLkmm9iikzMqoP5gPqiK1R7fLmY+/r1g1NBzHsVDT5wLnP5ns5yGggfdEMed7pNIy544No6Vmy+yJe+5TXMn0CDBc7RFPhZCjBrPIJs6SLUbwZVKcRZRqVjiWj+AG1j/PnQv8Tnh49svjhkEJyvr8CzD3jqr6i6tNEiW//gdmUNcVAwNoAhyYG0a/hrFGR3GNUOBSa30fqqqpYvlBqvDWnyxKQlQkmDUfXCV1ZB4t6T5dPwBmCaXnfQ0DqGoIKK0XijTS9iJ1vUlzV4YE6grgckkp9YMUaIVUTIC5QBlBAPt5VUG1wyuNogJ3YjSn5VnA5swi1P+lJVTzwpmtE6w9QtKbZcKzsB94OSzUPLVHt90ZRFZlCo8Vem54et+1OkdCfOcZNUse3DlfNQs2p7U6MThTFiesGLuyxHE80sqzTw80wg6RIM2a100kZ/6KS3k+efLaR6zqJ1bQFlHNdWd90dfTgrK81/947tzdf547t+kQ63N3ZVVhSRUYW5skOZLh//1yU+YaYnBAhQD/Ze7kCQYB3kRt0MhrwZ78RgE2OTyqywiRZY6aompq+QRRrYBfoflg9/zKKjIPIOYIsYszZVZFFYVO6wVTLikqsAjJXkyaB6TOXx7orUVKUP/9gSrQMQEWAjqCwFihijOdqHZ4pZFOvHlRuAxpeRa1OYsSa1nI1B6hpPI2QHiWsxeBD9CE2hWchfr7ilUj2SIXhifPRkhuGWR7qsxMmz4z2QdZtbTw6cRx1r8RGeKKkr/+5Own0uqvhOI6MHDtT+i+oRKkWQTYr0IPmLN/QxVnmmWblQj947kv9mmzvqHXE4Oy3Nlggjr8z3PnNnGEmgYh0sqoLVNQHr8RAQAAIABJREFUf1sPykT2HkMAPAQYxV/mTp7AkFkMAWaFZyW65ik8S6F9kCoEApeIZDlV2GRZ76SSmRUU4WqqsNlSq9nvAUlJxabQshWjem68fp2mNolYKqXmVRl24FaoFoOoBd4DqJjSVGCeQCzSLLEodCVQ8xBTsDnkmABLIXelMcb82Y4oCdpDt1QaQcN+UaxAWJ6bL4q3VGzOnEu6Fokwb8tSf2v+Y9xet8aEP6BiFNzbchbKkNWROstMUY4XTn1zKbJQK4zKzJPMrMOCzVOLJBo0hSea0rVH0v27znm/PeedGw2+Mgy5QC4aAcarzzMv8crzzJ/952fZvB9+9sUl0twv7vXEoCy39ogQjBV4nWhIFou48jg4DIO/S1z090wMAIgQ4MuzibFQhy/j/byvkwVPwi4EmOTQZ3PmsTOzQldcBTkqNZhbNVa5h26CbCu0yp31ZSpG2SuNJyixJb1XhAAvDiXO8hNfuh0YG6rFSaBgCTA5LIqmzLpzzEJPSWlYMs0+UDty8HtBTf4EU4ElCfCb5dUL9krpvr28+sxeWd23V1YPMeuVvbK631wuPbSXS9/ZP6xGTrbtH1b77eXSd83l0kNnn6UDdJ/NldJ7e2V1372WtTfLq0QbJorslcYdws8zyBhFDDrsF8VfIezJQGnR7HMpzAJLqSyKtUc4ZcatThH/gFvOfPx95eKF79fTD339oBzKE2M+OMJZX54wKt1VS6ygrYGBa39SIa2yM8Q4JdmPk4NzJ9BFei0uXZllRyYtHJHmuU+J5Oz/4PbhBIOxbd5ENRdDUmlBWQ8//zxNC8YKvd6dJeYB7aGa93PqvbaVPYD+TuH4feAn0sQxDkLKfAxF8BBTR/HFEt9N2vsvfTtwkUaAL307oKQmZjLrZ526mcrd86PrYB/eUVCTRDHEUIC4MmuKHljF60JVHjrVYsW5OX9qbPZK44mXPJu90riKS5TNjjc2PUKby9WPocpR6//5luieWORzMWkeUFVV0+wjqp1JcxdiD6KLpuKG9po093UpnVprkRgWbRAVWPCBgL1Suo8jkQLrlb1c+k7trnPsc7n0nUvApfbZXCm9by6XHvKQ9lyufgwz7qD0e9/dP9deqceR/z6BLZX7QIJreYa2KOsjvo49W7oOSWrGDlFUZMKzcLN5t2Us1N6HX2/ed916JziD+By1cs+enk5H0ul7ms/uvPDpxPEoVGmeWiRhG/TgzD3H6ivbHzyLTWt29sJOkk4kZ/+VGJwpO/O4M39GibI8KScTVd57lBicKYskSRuGYfz4+Rc3eIKvPLCCsn48d+4uSUlGv0Y6BwmtGjPCz9r3lYsXkAdnz4PvpztTcHVH5FGOuBYJHFwzwGhy84xZb1UhUd5Ps0l7M8Eqe7dGKmmvb9XKVA7SIxWwuUwP1XTxGIsY+md7Ocgybj2hzQdX08VjHOnTHa3+ktJi/UE4X4/XT7mvG0PnA5EP0W9d0nwHJcyi+6LVBLHswEtJc4KlcvKEZGkJjSKQN0+ZhZ5jJqFdtUiLgwOXVM/Be43N5dVJReIbVl01EGF7ufSdq+iCEbjmSukxDxH23B/ZKw3hlHz0GqAIZrvJrw4C/OZF4XK7Ca0Y+S2+Vg3AEg6swagpquFZhiFpw3ZVZNWgHHQGMSLyuzv/ySTzZx9yzhdCBXYSnOX6e6XVX8w8bCI5+68o9xAm1nj7s8yMM6vuyA/S7C9uTpen9gg3+/vw88/ThoEnz7z7NIwjBddRaYNuC5JLI0SQ6T+7AQ50e90aI/4uim3Q8JAJwfLIL+v9X82abwOEF+kT/mrWfIueixep0Wq/ZVWOewTYR4T3LavCbXNggTmPmzqybfGQZfqximXanJpri2alNOtaSqoNYybwLW0mMHelcZFnRli2UgUNoWLZgd3OVy5ixyJquPODEMQhcsBclD20QjZzwUVVuhV7gWn3zw/XPqyLIDHVDB7YP6z222QrNtRa49mLSvCVKPn9EAmwYRhGVJZlAMvzY9Vrhag9ggjPcvYiZqH270XqvUcrND/sBmLpIpl86c5R2q9P888fG4Zn8Y2GBOOIpoqVGmZR1F/JGWdcLRMJDz/74lLABv35F9i/5ZSgrFbqN1Yh/uyzsyTyHDj+Z5+d/fHcuYmHn3+eJgVl4X7WqSMKvgdsTAXYPbZXg8Z4yBUTYGiopEDT3n9p1jwVsjwT/p/Mvq1MZd/KVPbTmY1dlATL3Qk8mLO4gdoj9fAqVk2RYbRmjKOcD1ZSbUizgLjZQByJxdmjcXZplT26iijVDryYSByXUWtZSrK27twOCXHSXItEnstWIcAcKdjNldLjCEjSK5V7/2Z59QK06qubsOMgQ34/VAJsvyheaze5ZVmemy+Kt1SvU3LeVsiiiP/QGgzPMgxJC7WrIkuR+MDCWyN1WI7nhqeYIYlurVEk9muPkPPMH6M4efLaR/J1RvJEUyVFGmqRFFsdNm8afjx37q4XZIWCGJSF1CRh65E+/6L8f86c70PDsVq26c8+O4ubQ/7nuXObrDlhvrleZzyCmwBzPSyLCTA4dBHgyzOJO0G7s/nSMAwjNEs8kxCupUiPVCZQ0ttamQ0t1Uq4WVw/UeXqCBa0HLNUV0m7tTAhh7h/JAs0KfTKU4qyE40TLAKcHW/UVfe3mEhQf+kppxoz5km1kENGWFRUoNnMAa4RO2etXMXE+H45876RESUpEhwx+QUh7DioPGggHdNeWR1rN/nVRYANAyYASxP5/Z1j7xX7efE/rNcxFRPKB04Pt9tRe4R++F1PXZVVgHEdxB4WPp04DqiubvLUGkWePj08dZe1LxZODs6dIIdIzbyUV0RnD7GBVRHbr3lIuWGoW8N51V9esGqPAq/FKMWeRdpVgve9ECye0CzPQo3DbY6Ud2+0gZcAc7lQYgIMDxyB9Vucca/xwqtoPcAo0fXmfdG5YI8Y8+L86HqfM++LJ8BWpqL1Q783ixuqPUoV6rrU12pqmZgI6MwHa61NUrI+Z6807nhhV7lc/RitwghDhFsPR3JXGmPYoCzFmUIWFgcHLkGkGbMstUvJRFkTQdQ+59u6BtPsX0qad3Ff02Hz9l3jXWQffTyVT7LfKyflOWKytLz6TPT7YSsEXUW9V8L+x1SvgXHs3iXAP9//st1kF2N5Jv5cEWqWiLVIcvO2QbIIEZ5lGLIW6rCKLDyHzNEPqjp/Ozc8vc8z5zs3PHUjSuI7Nzy9ydrX/JnJPh6rth8DA9f+hKYwS9ceDc6EMm6UFFagRZr9VbFlo8d0Artm/0VLs6aBFJTVCrf6/IsbnsprGAQVGKlUas0ME4k1HwkWeGhW5iXAhsH++cdZsWMoglVrZBiYECzGwhNjp/MX1w2MEm4a0plKmaj++lRgnanQ1dTyCX9oVTVVuKrdhpwqUgPD/mGtnIIm4aqpz24faIjMfj1eP8VTf9SaD77SGPMd82JuvH49N16/LjvzywOXzMEGONHs1Zps0DwzyAD3KpCETQr+0laL5JLWpaQ5cWsocUP5PAzruK1/npawSvd5vyf2yupaW8mdYogXlL2ccn96mgAbhmE0XxQ2dSi49ovir25yM+97/njzonA59D34+f6XzReFTVJidfN54Q/StclUFmmpPapYQ+JEHLcXaRv0c5wi7ce83Bwul6149vR0WvL40nZnVsiVYSCEXEEhViGsKPlzFFZV8jr7P45tW1apJai/g3MnVPaEHs+/vwFz9m+i6jBx9vezz86Ga5EcRRifFh1UiynEejdEohGrtQcWAfbXGjEf1PnyCGi/A3ChezEAcHnWvM4kwITXoKFWfltz6P/NDx4zDMO4PD94DPd63v2mRyoTNAVYdyo0DlHVFD1IFd76+4axewGaD1Ylv4aBnd19m73SaO3fJci0cCysLVonlkyzT9vMKsOSrCsxmaTKgtwvXBI24Tohkpm1ryQ9mb6dxKm5UnrP+31pN7ET2Wtrzz+s9jeXSw8hbdud+H2MigAbhmGA1SE56uw1jErLWr+G9vSieMvmt2hX0PdzdeQylFuI8CzDUKs9Cl6TuIWaVx1aOPXNJVFbMevf1fwnk/3zp6d3I7Y7s3uGnWsNEPK54WnpsbhEcubPMqQQN2Mr29Xrde56JFKNrOLVX5VZaNTmjVeSZ16Szk0CGpTVmt/Fk9hdrLXZN1/88OyXx4lq79kvj+P6hh9+9kXIQcD4mQ88kGITYPT3UvihHK4qKQYgLs+a10kq79FrEmPea76aNd96lmYsMQ7Zn4M2Z9bXWTg/ut7HpQS7luhMZl1r6m0bunpf0mqT3D1JEWH3OpRsz4ZBn/lFw654Q7JyVxpvPTu1LqimB3OQUeIfca29uYwZZ1Ewk7AJ16liTda9eNRye3n1mQQZfHz0fuUqojXmHhXmk929jRmGlx6tUO/EqQI3l1cnZe5rTIDZsF8Uiwpq7x+ebdnpFuZPl3YV4gqyl4ooIW8+L/wXvSbV2qPb5czHEoQzlLQsZ6HGVTCJW6hZe0PBE0o1Nzy9ufDpBPXvhDPnO1WO1u7M7hlmBW/xpkPjcPLktY/EyGs4DVmWtCaSs/9C9yNLVnFKrWEYRiL57Tlp8ovYvJ10bTaZF7n/XpevF06FU3o9ezPua7RKJH8CNZ5Ynws9DCL9vOLm8ZkP68IP5sZEf7ZjfKBIjVb7cSnQbbFFt6er9wmtNskwDKNqFS/yzAjzpE/zIperH+NRdv2qbi5XP4Z0/RLfA7FHw3Bsx7i0X61ElNVfq8kmzFvrw7xnnEnYpOvUGoilujhSsyVITkgNVwvQKrFJutLcbNBmLZu+7C5iIJb7IOCx7pAuyj2SJsCs+99pcG3LQqqtP6XZflEsilmei689y7P98/0vJVTjkPrsv57v19M3hQgs0pELEZ5lGGq1R0d7EZ9lDi+2OuQqtiTiy1Uf5NYaRaf4cvQM8xLyueFp5WyYk4NzJ3i6e3FKpxxpnXk5MHDtT4HjqJBVAvFUCr5CbN6815kYnCmj18YLDJHdNQzDwCm4HgF26o7w6u8/z53bJH89HLhFfPCF/p7h+T2FcYPcrqSf315Pv0aPF+MDxvnR9T5rZONSeqRyNz1SmfCrutZIJc1ji3YXM8afFzgVth1dvbzEtWoVLz6witddQvykmipsuknSyoqvH6JhV/4O4K/H66eYqc8AKrA3s7qYNA9wib8651VplmSt5Fux/1c4CZusAmu7Rul7Q5hb9qO5vDqpSig9qJC6N8ur1DAMRdI4hhxLmijaK6uH9g+r/cHjKSjKMQGWgs1Ri+QqsyG7sTB5dcmq/aJ4TYJ4ExduhphTOVWvPcIoO5Izu2EVWcZCzdgbCZiEZu4536hrjQR6hkEt1DxwbNF40ohTWVmqKIVI/zl8brhALvdapGecUZu3TL0TqY6Jhh/PnZvAVhshlUfecokxoU+YsT77DPuZCf+QzPrtdjnzsavicv1ce3VJMWIQQSK4Vqayb41UWh9cqfVIyHyw6p5cizFRhX1gFceitEW7Cm5HPTFSCbvKXmlcJanI/jliGYQSiTGEVFs3r0e4KJZkbeRbshYJO+fLRSrxDxfcY3aMFZqH/BqGdLAU9mdSkQiuUfaoRFhx5FrleM3l1UmoY4ESYAVlm+ffSqcBR2Sbzwv/tZ8X/4MjlzKWZ3e2twg2dxw8PrY+yQ2honzYDKqj31es38QIJiawSs5CHa5gkrFQe8my6+nXPCnQfsyfmezzkUFmfZBrK4601oinZ1gheAs0EDIxODuFErr+5OwnPK9jk1+M9RkwkMswVEO5wjZv6booqf7gL3b5SOy5uyhh9s8HMxKhiZ+XAMYWsL8TSHBJddn9Xff8+/X0Q1wmQYwegzVSSfPM+aZGq/2G4c0Hb2zS31NRDgVCbcUkFTaKrt7AShXqrPngqCEUdjXeqAfmg/FKsrRivTiUOIslQhj7q06SRrMkayXfArVIIEnYBLV7yTT7tKrsXMTXPBBRxaXmVBEFtHUslSRpSs2Qaj8xYa8qJHQN8FhwBFghJZvzn0tHwf75/peejdlVZovE10pYnmlpzmAk2GfLRnF73RrDWJLLwde0sfYIqyKrpVDLBOPMnp5O89iKVeuTxIkvR88wBCHnCPgSwcmT1z7ybL9klZVtm2YRVhWySlJZZUO5HIIerj2CItK8YJJgNwCLRHI3P/us31GHnRlj0uwwDrfLmY8hCDDt+lw1+R7tYdv369a7WEXuUVhW5TinrbnV/+vN+aZGq/1WprKvQ/01DHzvL0mFjaCrF0eEN1nzwVFDIOzqMDve2GzNB6NfV0iDJhE6HCFdMs1+rQSMQr50kW+aKuu7brAkbNrMM/FhRBQrae6KBoPJkFbIY/kWebZWsf6IcEx5EoqQ9ZgAtw/NF8Vb9s/3v6S9RtTy3Hxe+EM38fUTbdY1eh8YceqoaniWYchaqDH1SRIW6ig+6Lq24shqjXh6hqEJOSvoSwYnB+dOkGZahcklhkjLk1X9tUcOOZebI/bmkk+evPZRIvntOac/eOavieTMn3lmhInqrktwibO9n39RNgxnbtgwnI5gZLaY6ZZzFVl59ZcyvsAiviLHitGlYCu5PmI7UkmnRqv9rsLbUrmskY1Lfvu0NbIhVIxOgowK684HK1cUCdqiQYKtoMAbduVXhKFCsFg1PDgrrPDcqxgJI/6S1Uq+GbVI4Ao0RXXWbTXHrVtDCakcgA4iwJEeV5GE7gMeKybAmuAoxPyW5ygXS7FG4c3hBf6fVO1ROIRG1ELtHieY9CqhHunuAV0Ynjwb9Zwvz0yuDkKuUoskA1FSiNqotdQeydqVMfvD1x5xrMGZe/3J2U9owVk8M8L/58z5voeffXHpn+fObTok9txdLzGaRJA94vvj51+Uf/z83IFXd+R2Ae97qdIsSAXhUX6eb6+nrspWosUkuIdwfnS9DyW47v+7gUt4NgzD8Cu+Vqayb1mV1pO+9MjGDU8lhgAXkU0VyzgVtpoqXI26Nqkj54MZYVe45bdHi4Jp58UQUu1WXWotUqKs7byMxGPILmR28nU0JHhxyNxUqYMCJmC6iF1MgGMCLITmi+ItEctzZIswnywKSbuivtojoBRqCCx8OnE86jlfHhuybkI+e3qaK/cBAqIWaMz75YKviLVHct3GZjKsTsuT85mXPPeFpqzz4OFnX1wiJTtjeoO5ia+H2xVrSJSw4sjv95WLF6QernE8tIvRhQjN/mY2dj1Cm8msn/V/LTVa7XcSovXYnXGociY901TYqlW4E6kt2io+6bT5YFrYFUYNxs7YoFhMJtJLSXM38P9463cwhFR3LRIxKEpjJzGrFglagWbN2i4OJc7qDP/iDbqiAYxQ/rDa/+EQ4GBtUy8SYLcv+b69srofrnUqHTjfk9J90jx4O9F8UdhsO9ENqr2t7mEoeKFRYh8mw/O1UspMqIJJwkJdsWqQ98PD3PDUjSiJL0/PcFSEHKIWiRei1UV+hVUmQIuk1HpQqT0K1TJJdhJznctVfx3798xL0f5gw8BXI3kkl5QM7anDvOAlwd+vW+9wbhCoQC3vHKL3KEYHgpLofCNojXYCrSg1SGC1R35UU4WrECpsNV08xkumwVaqyEUko0R2vFFWJb9LptnvVy79pIdlfw4sDCFVDoOiE7T21CIxSCGo/Zthu3a/f2Czx5DE1wMYoVTr1mURO/Dj6tqrhzfLqxfsldUxe6V0XyporI0EuLlSeiz4/n1WjVVUsF8Uf2034ZW1OcuA1wats/ZISuVBUqghECX5nRue3udRXKMO3upkFXjAnP2btLUYo9S29qFAqBODs1PBa5LvJGavo9nlwB6Ss//CJVrT8OPnX9wIpT8Ta5HCvb88oKXRu+Q49P0QnfMVeOgmnKodo8OAqrykOqPzo+t9TvJzpUwLx4JA1SrcqaYKVw2jRVwlyCf+6XbVKl7kslUDrQepwttqalm5TxcSbn8wSoTf+nuCcVgyzT4sWfNZmkPVR1TilAj9stIe2ESxJOtSRlnWZFD7N6LIM87bL0uEF5PmwVLSvMuyeMsAioBJkKbAaq6U3kPusd0EOHQ+gAcEugnwm+XVC2G1V2itid4XSHSM8gtkc+bF7XLmY5oFGRtYJZv4itYnAaVQQ2Fef9hV2+Z8WYR8YXiSO/0fAk4XsLzyqqrUGoZ67RF6PJ3X480uk0j2gDn7N5H0aCTgSrj2iBeO28S6d7uSfn573bqHqyqSc6TEKvAHB4qq2yLAXv2RYZCTnyH24gZYBUhsNVUsCxNPxizuA6t4PaL5YOkwqSjw9Xj9FM+8L6uj1rPeChMqDIECVSdD++zMWiRIBZrn+x44t2n23RpK3KDdd6fKyNxcSpoTIpVGMgAkwCrE6dBG5mpV99hpBNgwDKO5XHqolQArKM0A5PfQXlk9bK6UHsvcGyi0a+5Xh81ZFKSZO1zSsszMLk7xEZ4V1PxB1u3T1UM0+XuGOy54SxeiIsGoUutBxa6cSM78OXAshU5i9rmOZpfp6dczL0khXzjQEqN//PzcgRecpRMQdmfHSu0Q6+/X0zfxr4mrkboePCqwMx9cKXv1R4YRDsOC2AtqU/Yqj0TI6oNU4S33+STItcjqtFlgUSwOJc7y2JI9YilMXjGKJfccsSwJpth1dZJvZi0SlP2bcR4eLJlm/5Jp9quEWckCgoA1l1cnlYkdtQe4NwiwvbI6ppUAK8xKQ5Df1rGWVydl7g8E7BfFSq/ZnEXx/Xr6ZouY6qw9kqlMwahH0Jg/Pb0LTDJ3eWqN2hG8xSLkUcDfG6xn4WuP+pOzn0AQUu8adBJ4/+wy7/5I884ofL2/ngV6/8fPv9AyJokCKOSKN1E+NH4RowPhzvreMAyP8FYCT+hcVZeqBPvmgSfCr68oF58/sIpjVCsxN/Es3BE5bzW1fAIl3iCrA2eAebGYSByXUXNlCGTUtUg0S7LeWqSw5Ttwz6EUaA225CgBQcCAZlzXIPcYE+B2rpK2oEYe6O7wbT4v/Nd+XvwPq3+43bhdSZdxScsyVkVUfYFKodaB+U8m+6HUVZ6Z2nYEb9EI+fyZyb6FU9+AVGOKIJH89hyOCCeSs/9y+nBlk5+DSu3R+eRrj9CZW/lOYo79+2aXRWeMRdTgqKFKfr+vWLXQSEXFGqIdt13XGoMT/qojK1M58Iirlakc+CuMDMOpMeLtBPYvvzIsiyrQbK6s6uoScJA9PEgV3uKqmboB0uQzmSjLEWA8IW1fLZLGTuIoapG6nABDAIg4EccoeoUAQ90ryrE7hACvHtrLpe9k75Eq7BfFa7pszvaLYkV2X79knw7t5Wv36uM7z/fGa+/q47VDb+2N137bG6+Vf84/BQ+H8oNkL6QrNGEV+TYhHIf+gVdP7REOc8NTZUV1lWkrdu3Wkc358hDyABlvozp8cnDuhJ9kytqLKbVH0nZluNojvuWfXRYl2ip1STohOULhEd/fsA/mOBwl7bjWGAIIpjmzg6ssq3Kc9B6SIqy6xwdW8TqU8gqxF9X5YFIlUydjcXDgkjLplLTx3hpKhOwxOpOZXaJIrEXSWRVE+x6AKNAfOAG2FYKXeAllTIC7kQCTLe1RwLUmg9mcmy+Kt2T30sjvXN0br/3mJ7y0tTde0+ZmkkloRT+sylmowynUOjF/ZrJPTl2dKvPM+c7D26yVCPnCqW8uoWR8bni6rTPpfsjOCZPSkVXmjtGgKRUlmU22g7PLguT/Xzq/J7Jw06HFie+69Q43x3t7PXWV9/dSGy43Bi9So9V++lzvxiZJvc1k1s/iwq7Q96vuUTrpWRMBbu0pVdiU3AN2PqRTsWSa/VrrhxQIqd5aJLIlWWst0uAA1Qq2lDR3VY4P8W+im+F2wqoSplf0c8QEuOsIsMI9goD98/0v221zbuR3rtbztde8xDdAgvM1LT25gflgTpti6BiC1sfv1613OmqPWHCTmHltxft8c76KyjIwIWeFbkWdDE2CjGJLqj1SqlJCLMWJ5Myf9am/wdll0XPROoJFa5MgIVmfFg7QI4T2xQS4S5HObOyqqrjpkcoEYT4YZKhdgWiS1kWIfRmGm0qdKtTbdX6dAO+DVSWGmIRmrTO5DukmfsDQRb5ZtUiqs8AQ/za6FYDVPmvU88QEOBIC7AZhjbnHGgPYK7UdQDdkapFUbc6GYRg/559+XB/feS5DfBESrK0uiMdueLuS7vjaIxY4EpkPeOZlRcg00GIGb/Hsa254GqwyUxUnT177SMQCjKsEclKnYQipYagpyYnk7P8kkjN/7U/OfpJIzvwVvbZwyrRIbzI++MswjpKvE4MzZZHaJCjcFht/eB76HcKobRN5GBejw5AeqdzlIcFWpnJgjVSI8xxeeJY1snEJYubXMJDaI6iVKtQh9uaHQBJ1R9ce+bFkmn3tJr08hFQrSaf05ursJMZZvgPfG1lyTal5+hAApP4evllepc4GxgQ4GgJsr5Tu+48HUNu0JnufoCBQi/Sris3Zg2t3fqdKfr2lcybYtTKSP8xiiKtwgBZmflgGufH69dyVxiFPjaAftFqkueEppqgwe3o6HXWtEYuQo19n7q+NNUk4nBycO8Eig6TwJ7Xao6CimhicnZI91oA5+zfstZ289tGAOfs31ZRp0vFxKjKpIkoXuAjwevo1PoBPSj12j6k/QT4GAIRmejMbu/7eX52QUFd5SbAWIsCcVU4tt80GIgPtc7bihDT0dFg3UadZkjXXIpHVZ03EupcBpBAe2gz7s3uumADzEWC1Y/+w2o8cT+l73FwuRTr3iYP9olik2ZybLwqPodKc98ZrZSjie7R2tCcn3163xlBii6s9kpn9vb1uKbkAclcaY7krjbe5K43D3JXGYfZKQ/ihN1pPNDc8vcnZ5xtprRGLkAdCt3ykdmF48iyLVIvesyjgkDmcAotXP0UTlBG1NjBPq1J7JDObK2p/xoVfOXsmKdYzL0lp2dDDip5FAAAgAElEQVRgukewD85SV2XS533q729RXFsMALg1SIdWprLPnOv1VRt5Sq81snEpk1kHnd2opgpXtZBf3yyujh5ed2Y5XJvUpbVHWtOWgQjpraHEDW3no1iSdXYSLybNA1zPrgrhXxxKdMR8VTtgg82bBlVHwrliAhwBAUaP92Z59YLiMTvCftl8XnyNsTmDdvfu5WsP4cmvsxq5nUis5LfXrXtH/cFhtUVCvVEi79nxRt0jvsgSuh9eLdLc8PQ+ayZ2/sxk3/zw1N1oiS+dkBPIeODvKJOsD08pV2fqAqrEkmZfIWuPVJRkmWRmEfsziWDz7DmRnP2X7vng2+vWGPln3hryv9Z9aCacGI8+jEOPG6PDcX50vc9TdilzvVgi3HotQOiVB9WkZX41WA8xde3bL6uWU3uk4xxRAKx/FmIlTeIfRZ1Enaac6u4k9ivBS6bZJx2CxUiY7mWoKoMthXCl9J7zfDEBbgMBBjhmR/yM+GqRfrVfFK9BH7+R37mqi/zWx2uH9XwNxEbMA7ffF/s3XJQAy9Qe+a3O2SuNOzgCnL3SEA6+5AmDcudpI6s1YgVvMcm4j9QufDpxnHW+hU8nQg+AOwUnT177KDE4UyaSP4XaI3NwJqBI9idnP5FXf8V7eUXVZtwDAOGwrsGZezrng7FBer5xh9vlzMffr6cfqhBf75gx+e0SWFbluNvtewNVcJ1+YL75YMjUZw8QdUO860Gq8LaaKmjx61dThasPrGJbw1VUoZo8DEEEWerl4uDAJa37INQiGUYEKnnS3FW2W1O6jaNAc6X02G5TyJANpP42V0qPOc/XacQuJsB831+uBxzdDCfwip/I7uVrD0VnhPfytbZbyQ2Dpfyoqb8kq7P//wXWeB2s+nBhePJs1HO+rLlcXjLuJ7Us5bqTapFEQLf+stbMS6jaI1InMQti5DVs/5a9fp01SiRy+33FqoEQX2d1pcvzg4QTWhXu/kXne1Oj1X7eGWHLqoA+sXPqhorlSJRgZza4rsMW3e3QnrbMIH/c+9RI1GkBUtrJt/o9bKuyZa+svmqXwmbDzf6GZk4p5+woYtepBFgHummv7QB/2vPRLO8v2adDfCR45/kv2acdpX5wVygJJD/TrM7uwn3tMJerH1O5loVPJ45HPefLsiKLknGU1LJI8+zpaWLwaqdCJDmapdiqKMmy1mIR+zMu/ErOrj3zUsaqzQvXKQJBcrHzvjLukRhtBNXijOn/tUYqacZ8sLaAHddOHJ6r1WiLrqaLSn+sOglLptm3ZJr9i8lEenEocXbJNPtpiib2GBqtvhDk171OrUSdpkJ3UmWUyL51w1V+j0jGcum7KM9vR6z+uueMCXBMgDsOIuovOse7l6/doynFUc39ioJXBf5+3XrHm9rKsjqTCHJ2vCGtaM4NT92IkvjODU9v0izIKmTcb+/uplokXjikVUoBDSm20koyYqPmhaj9OTSrLNlTTOsQhsJt3io1kVnfOOm5+2CNVNKctuYQqcXOB2c2hIiKLATqhkBs0Q+sIphtKWosmWbfraHEDWpfbdLcvzWUuMFDhpdMsy/SQCxJ1XIpmSi3Y0+R3x/+PbctTMTGqq+lyBI+8eeXXJzqr3vemADHBLjjsJev3eS2MY/XQna+er72GnnNO53dv1AQ6QL+fj3NZd+mWZ2/Hq+fIqnAorVIhhEt+Z0bnt5nqa6qoVsoqWUpyN2oAhuGYQyYs39TIYGi7w8QU8l5WhECixJ22c5jUoWSDqgkO8s6RmJ0GLzUZ9n+39Z8cGZjMz1SAfuA7ZLbJyz1lVk3BLtedtMMrxuUJKzW8lTkRFmLtJhMSP3R095fTJml7TgrtKCCDg2brL6utfn8QktE/XXPGxPgmAB3HKgqbpgAh2qF9sZrF/xzvjo7f6Fxu2INfV+xfuP4YMv1t55ldc6ONzYJKnBdZv8sqzDAApvz5Vq+c3mp1ziizBMG1skYGLj2J6405MGZMvo+WfIrE3zlQSz9OVhjJPJeH4nWNveLg1Q1GjIzfLuc6ZrfezEQZDLrZ735XytTOUhnNnY7of+3ahXuBIln4Q719enisWqqsBkhEX7S6T2+i8lEWkWFpM25eqAqynDETcn2pJOo02qRnHNrVKA7mPzaP6z2o0SRSjYEFFWp/bRJ/XXPHRPgmAB3HEQIMEkF3svX7u2N17p23i1QnRReQkFYNKtzLlc/RiTIgrVIhtHq1NVDfoen7nLUGkGHbh34z4nYqZlkvNvQn5z9hBZmhc6/ytce4TuJeSBqfw7sV2pWWe/cLwkijpCjB2Pp1/Gcbw8gOMdbmTAMJ+iKu/83Uymj88GqcLtzsTZkVjqzv24oqvlgyGuHAlgXLsMyuziUOBsBeVN2FWi1IzP2F8lDgk4ivyura82V0nt7ZbU149tcXp2kko3l1Wea99QW9dc9d0yAYwLccZCpP2rkd3puxo1ceSJWX8KyOnsVSZglVYs4f3p6F5iE7rJqjbSGbvkCtubPTPbxkPFuB24+GLUAJ5LfnpNXf+VnaUXsz/49y6rVUcz9knB73RrjCshbT7+O53x7BKj1GbU3WyMblwT6f8Ge0FVZAVcc6czVVOHqhzofDEZ+3bU4OHCJdj7tgU8AlT26+4sXEwliQMhiInG8bfPAyURkD2js5dJ39krpIEginBlfe2V1jYNwaBktsAF7f3Hqr/9+E84fE+CYAHcchCqQkFqjRn7n6t547QJx5Wv3/KuR2xnrdKXYtUM+dz/sUn9v+gjtRf//Z1mds1caLwmBWVSHGw4kq7CM+sqaq41s7thHwHuZ+Ppx8uS1j47me8OKrULtkZKdWOS8/vArGetzlHO/NNxet+4R5oKfx8S3h3B+dL2PSG4zG5v+CiOB/l/l5GdXweVUXwubrPngsJVa73xwu2uTdCmyLIKnmQCDzJXrJOosu3gkSrl/P0nzgPXgAgpvllcv2DSFdbn0HScBfqVjf9S9ia019NjofSecPybAMQHWgp/zTz9u5HbGUMK5l6/d5Kkg4q9Bglt747XfOllJJn3QdWd5yzgFN3ulcdV7Dc3qDF2LNDc8VVZUXakPl12rte5549aaG57S8sD2L3MnT1yeNTcvzw92bJvHycG5E6gK2o7aI8MQU3H94Vcy+4167pcHt8uZj7+vXLwQ25x7FOlMpcyh6raIh2VVjtP6f61M5QDCCi1jX2apr66lOrraJI7gLl3QpjQybLRaa5GAemu11yIxgrp0q9B+Mi5aayWLUK0Rfu1zEmDwWiQbUP3FHd9PfEkkOCbAfOfupfukG64C+xuTcOZrr2lkU8YGDbd2hGZs2wmXuOKTno9UXIcEM6zO2SuNJ4T3PxHdV8sqLEE0WXO+8/AWayUyroKvZhNPLs+ah+7qGLceDc4MrlztkaqimhicneInsE74lZz1uT1zvzE+cGDriwjE1m9vzmTWz+Lng9Ut0Cppzq4NmWqhrFrFizIEW37Rg7ugAW19xhBR6vdYp80Xqru23UR9cShxVuNDin3ZtGxR2P45X77FpcKSiKbCPrWpv4bhkF7vv/6F7KFniF1MgNsLN3TqnYzqSlKE0TqjqNXgqO+hKHJXGhdpxBdXa0SzOkPXIrG6c4PEd3qfPeerqCoDk3FVXJ5NjPnI7+HlWfPwq1nz7eXZREe3eZiDM/fk1N+Zl7K1Rx5E7M++90ikPrdv7jfGB47zo+t9fErwxqGVqexnMustEuIn0FamAqLQAc3sPmHZkB9YxesRzQcLP9FVQRTqIk1Z1Jq2zJFIzXWPdPfzcswrLyYSx5eS5i7YvUmaBxBz0jxwwqzQOV/Y1VwucXVvsmCDJT+zu4pRIozso2eIXUyA24NGbmdMlajujdfe4UhwI7cz1j4VuPOV4JDyO16/TrBCH2avNF6672HVIlHfLwqOVOaDhVPfUEdiRIg00KKGbkHhqxnzJUqAj4hw4smlWbOtY2sk4AKyOBVZ6dojwxBTcj2lWUQxhlKpY8QAQWq02i9Qf7TpWZ09Au0nxrKopoplUPKZKpaZ88HQ50SWrnlgr97Ir/ZF1TnLIqJaE49NE+SPpe5aJF778VLSnFAi4xEqvoZhGPby6jOdxDewAGqRbCj1l9OWTSLBvUTsYgLMB6cjF4bY7eVrDwEVVywJbscscGBf+do9iHsFDQKRHTMMssqbG69fd79OtTqTLNWelVoEtFqkueEpajbL7OnptIZaIyUyDoXLs+Z1EvkNEOGZRLlT54OPArLE5nFlIUJmTw7OnTg5OHdCnKR33txvjA8A50fX+6yRjUtOsFVlwk9erZFKmj/1WT3wykM1tXxCBwHlSWd2zw0/H6yhHmnJNPsDQU4+y632JOYAySOTLp1ztlAqsGFoJuqCoV2LgwOXuBXhpLl/ayhxgxZKpgs27xwvzFJyldhwvb9c+/CT3pgAf7gE+Of804/9hHUvX1NyM3DN+UqQYOy+JazVkOvn/NOPVe4VFPzpzrh5Xk+lpViZ3zK+rqUWCa0omhue3uTo89VXayRBxv1QJcmX5wePOVZnNgE+skV35nzwwMC1P/F0AfcnZz9RPRev/dkj2+Ip1fHcb4w2gERwrUxl319/hNYj0eaDIfalhYAG18uqVbxI28MDqzhWBZoPfpAqvIUMwVoyzT7S7KpHRqMivyjxxkErGQdSgbWnMkvuc8k0+5eS5kRomWZ/VMFWNOi2PyNLekbLhpv95d6D//uP7KXriR3UeXuZAJPmc2Xrf3SQX5rtuL2BWLXDvXytJnOfoJC70rjoqbo+lRZrZc5eadzBVR5lxxt1/xwvy+qsoxZpbnh6f2F4kujKmz8z2Tc/PHU3WuJLJ+N+BJKnFYOxLs8mxkRIsKMGmy8vfTtA/bzYLvQnZz8hEc7E4Iyy6CKW/jzzVxnrczz3GyNyWCOVNM+cb2q02m8Ynr2ZnPqMpkSrwCWfOgmwt55UU8vUaHiI+WDITmCmTTZp7utONyacl/iHack0+3SdF1IF1krUGanZ3Qq30kgr8XXCtUr3ZffozCkD7GV59RnIPetyYgd53l4kwI38zlX6fK64FXovX6tFQDhDtuO2k+A2dQVj+3tz9WOMWqOAauuzRl/NXWm89YgwzeqcCwdstY4jAxrxNYzWnG+EtUb00K3A3vCKNIjIwmuFRueD/zJ3UrpKSCdw88EQqqpY+vO35+K53xgdD8uqHOe0NbcCrbw539RotR+X+gyl/nqIkAQz7cnVdPFYNVXYlFWbIe7H4lDiLLdNFzBQiZuIMmZddSZSQ8296u4vjnI+N0rYcOoqbr16s7yq9CEYTKUGmEN271dXEjsd5+0lAvxL9ukQ7+ysSO/tXr52MyrCibMdN3I7Y+2yQ6taxmWRvdK4g1Fzy4ZBVnFRtfbr8fopv6LbUpE5a5FIqu/50fU+T5iQxcLw5Nmo53x51VumIj08BSK0XJ4fPHZ51twUJsIzCS3dxKo4efLaR958MBSx5LY/D86URa3P8dxvjLaAreT6iO1IJZ0arfaj1UbWyMYlv33aGtkADTGoWsWL1VShHhUJfpAqvK2mCtQPJf+wVk5J7EnJOrOYSByPcp5XTeWk/2HQWfejco/90FmLtJg0QR8SdQreLK9e0EV+VfcGpVBDJVEbRvcRO53XwiDASg9WorxPwsFU+dpr3nvMSz49Uq2m2pLVaYeIRx+OxXufVOCptNnxxqZhGAZB6X1L+Zq3iLPC3qyvez6i1Tk70TiRy9WxI1OWVTluZSoHsoLDwqcTx6Oe8xUhrLyK9MKnE9yZF5e+HbhIqzi6NGueujxj1sXU4M6dDz45OAeiUovZn8XnflWrmWLEEMb50fU+lOC6/+8GLuHZMAzDr/hamcq+ZVVav3zSIxs3oGqPXIIpq7RCrZcctUljnLZopdojaDLm1uPoC3saMqmzrlqTqQFrf9pdi9SNaK6UHkOS3+ZK6T1M8rO6+quhi/hVhxE76d/fHxIBxv07kFNHd57zBjzxq79B4rqXr92TJZyN3A7TcuuGZF3gXY3czph0Z3G+dpPnXskAVWlzwVTnUGqzl8hMIrieymsYeKuzpyLLWp2D7RwVob8lc8NTN6IkvnPD05u8RFVUkZ4bnuYefWrN/M6YdVrF0eVvB65KzQd3aG2SKmTmeXkXRDhXjBjCCM3+ZjZ2PUKbyayf9X8tNVrtdxKi9dqdDcMwqlbhTpuJb4i8soKrHljF69RjMOaLSVgcHLgEScIWk+bB4uDAJf/xNRI86qyrLns2pLqqvUKqA8KrcLCdpOTgEiChzqwuEAEGUFzh5pPl54+x++owYtexBFixZiuK+ySUlpyvvRadaeUNvsIlOUv3BAuo06JwbOLCBFhbGBZ21vdK4212onEihwm88vfykmZ5PSJLSIxuEWSW1RkF7rOYN5rGQpTklxW65YeKIs1zDtysL6vi6PJM4o7MfHCn1ibJQlzV5VSLB2en2n1tMT5QUBKdbwSt0U6gFaUGCbD2iKN/N1W4Wk0tn4AIpRJZzNqkdPFYFZdaLVF75Cb+giu0uNnTpWSirIvgtasWSbRuiPq90FqL1BkzRPYPq/22U2X0ikEAD5rLpYcsMmzD1iJJB78c7Qdi9rcE/rAvJsCcBFjx3xNudlzHfWKprXvjtXe4gKm9fO0ea8ZVkCgGzuF0D8upwKo9vHv52s298do7HOEXVaf3xmu/qewFhb/WyCW6YSV3vFE3DCLJveh+jZQITSTJnsW6dW6C1dmDf9YXl73iufR4wGMtVlzcc76GYRiqydNzw9PU31vujK+UhdmpTEo8ESXCl2cSwmndnQgR+3M89xuja4CqvKQ6o/Oj631O8nOlTAvHUgUf+Q2TSab6CkmCnf5g6gfyf1grp6pubdKDVEGot2/JNPt0zvmSzqvL6stSY7WSb6A+XO1J2kD1TTKwHXVXioQ1V0qP6ccGq0VSIsCA6dTKRDy0N0ViRzimyjWuKVyLPgKs/j0Mfe+UjkdJASeprTiC28jtjPlfT1KFRdVSnAosmx69N157J9PDuzdeuxC4FwQ1WVSdFt0HDi5h9QjpW498ZscbddI8LlPFpbwX93XPQs1CJrN+1spU9v0hpKTPa7yBWG6dkB7yOzx1l7fWCDR5mkK4eQKuvpoxX7Lmg53XiNmiee5DJ0OP/Tme+43RAaCoui0C7P+lSkp+Vt1H1Spe5CKhBDVVMZ1ZfKUKddZ8cDVVuMoiyyh01gTRSOFiMpHWdc5bQwmiQyCuRTJBg7t4YSsQX/9qrpTek5KZ3XOoE8/l0ndq1wpCxLV8j5SJHaLEu0q+wnXKW7whvtekYwOEq8ESYMqDgkZuZyxI2nae/5J9OuR/DSklmqRwyii4e+O1wN/Kn/NPP1ZQgbnHEJzz4AOy1OuVxGujUBDmeandvp6dGfv/XfL89Xj9FOW9RGWYBFzdZDCIVE2MmD89vQtMfncFa42gk6cPcMT70qx5CrLi6PKseZ17PvjbAe6E904FWqkUz/3G6BnwqMCOvaZS9s+YoGFYqvvwFFOeRSOekunMCkRY3N7MwlLSnNBItojWYK0kjzLrqvN6oeqGtD+Y8M1l64bqPCVuNZdXJ7HngqlFUrHlwlixgWqPQvtTJqxBYmcrPnRQqZmCuM+046vNlYeJvY5/7x7q4zvP6/naa1yI1N54rUwjeaRaJBni6ldu3RllrjlilHRyB3Uxro2kJusg4iQQiep4/bphUOd532LJsxtmZRj4yiQc+c1ONKiZINggUvezFo0Ai7RwzH8y2Q9FPGdPT3P9nZ0/M9mnNXkakzJ9eX7w2FcziTJ0xRHzmDNmneeedAoSgzNlMznzMpH89lzr/0n0+cZzvzE6Ck7YVWUiPVKZyGTWQ2EBrqpLVYL9aYPh11eU5i251V+BeVyBdGYQWzSrNkkUOtOHiefU2H3LUmO7oRZJV3/x4pC5CWXXpsFeWR2DDKcKEAKCEgxA8JQIKMT1QtYe4WCrJEEj6ri9Urqv8j1UvA6tBFjlwQ1q14dW3lHgSJ43C8tjOcYdU65/11FMpVKXBYK6Gvmdq/zHD6u4Aqq2Ug+4B1o1EaWb95BQWRQYc6J1A/vJMg5opSThM9hdlmuP9z7MDU+VddmOMee6oY34+hdBhdZRcfSXuZMnSPPB3ZQIfXJw7gRqUfYIcTz3G6Mr4c6OhH6ZWpnKvjVSCT2xIz11ZC3e9EESFKzLPDVFkc0HVznSonmh05JMq9/RRfKWhkx6LVKbrlf8+wJI1JPm/uJQgishUxWAc7C0he3qbS6XHiqTUMa8MfaaYYO4tJA6gO/NK4+M2YoPOFSJvu57pf5v2FGB3yyvXlB8MCLUSR2aheUjeiGiJNwv7COygud+h6sbauR2xrCKtsRssafkutVInKq0uv3ZD5yam7vSSn3msjKT5nlzVxpj2fHGZvZK44m77tBCrkijZSSCy/E6rmDS+TOTfTIkc254qsw75+vOG+sO3fLvjXrtl2cTY1IVR98OXCQd89K3AxeR+WCw8asooCvlOZ77jdEWhCqOKHaawPusynF07oSlCKvuVVmpTRU2acSTmM6sTQ2WqzxCoasmyCWjxD9e7VJjdVmwF5PmAVTdEARRdzuYI+sAjoj8UkkUkPIsNE9vw9ivtZK6o72CBYbJL0WbdxT3SpeDQWgJzKTLBk/Vx4P2ZcMQnZWVWziLcWCmFxNkpZIwLbLQOWoI4OzO2SuNJ6iKSwq4EpnpJYGl6Mour9KSBTeIipNcTu+LzPnOw88Z0/a2ybs3w8DXIqlWHLXmg7uoBimRnPmrfvIbz/3GiAjnR9f7+C3NG4c4W7SXPEh9r0DsPg1g5JNhi/anM+smwRD3pV01QTq7b2mzrl1UiyT/YCJp3o2y+zdK8utbmMAheWuubwnZ2e1uIsDt+T61FkjXcgT3CujfkcISq8ISrflhKZ5yNmi+c+EIJm6mFxdkRQq9glqkuWhVEKuPEHU4O94oE+zPoUokUeA6fUGWwOczjkCqg4VT3/DNFp+Z7FO2VsuQ3+GpCRECbBiteiRmQnSvVhwZhp6Qq3juN0bbIKTgZjZ2qccaqUwQyDRc9y8w+WQlL1dThava54OBwrGWkuZdbaSQYknW1X3LrkVqz/UKfU8kiPrikLkZdd0RgNUTlCTYKrOuR4tbBba7iAC3eb9Cll7K/iO5V23+vgpXYYlakANkE5l5VSPUmEUK6mLMK6PqtBuwpYWc6yK/HrJXGlc5bM5vWSnP/l5fUfDan4UUYIFwUlotEstS7IeImqxxHeDCsGiQqjiaNd92e8pzf3L2E90EOJ77jREZLKtyPDwvUpkg/YJFLdDpkY0buPlgJy26MmGNbFxSnflFoSW1maumiKN3WGFB3Jsl0+zT1tFLCaZqlxqr83qXkib1YY/Q94W3vzhp7kMlUYtCnCiUDgDJxRpmP2Pqx+VX4NpMlIRInYeoH1jQaqxEEeW9aseDHVmVXMkijLccKxNNd843pOTyzivjrNJ7+drNbiO/HrLjjU0OEjyWo9ckSf/NZyU7iy/xYFI0nXlueHpTZM5XQ60RneSy54oPFoYnhTI2Ln87cFV0PvjyjFnvpsArFCdPXvtowJz9m66533ZfX4wPCE7aM/4XYShhMFMJqJQB8pzZ2OSdIVGF1qCqVLFMmw/WaosGSoZuV02QzlokWupxz9QiKc75OnZPuV5WUbLpD5mCsOOSEoVhKpj47knUBEmV1BlGtKo9JPmFut8i9ynKuWmZEDY/VCzCaCCVqgq8l689xCq4gvPKhKRr6ZlnlPjrmPmlgWVx9rqCcSnP2SuNJ1+P15VIkFj2CkX5xQgYPPBqkeaGp/d5iaPb56uv1ghjdfbvjefcvBVNflyeSdwRtkVT0qK7AScH5044yc9wBHhg4Nqf2n1dMT4gpDOVMqoAo71waTftGVVyQ6XrmcqB7C9TUei0JLu2aOovJ03dwU+g7k87LMk6u29ZtUjtsmALfk/wRD2ZKKvM+doOeX1FI5LMY4gTzYANUldyM0QtEu89iYocQZE6Dw65A7GLU1bpAJL8Qt1v4XNq6LQO/XvDKL+N/M5VJ5V557m39vK1e6S+XCdISl6tRY8nqwLvjdd+w+1PlkjjjiXXNXx0rThlOgq488CkDmBnuUnOXiiWS5qFbfE4nB9d71Of+60ojV5xE98zk33zw1N3IyS+2PAtzi7jg4VPJ4TFnMvzg8dIFUfdXntEQyL57TmIVGh/n3CMGJGA+BSRoeg6FmfYJ4oieGAVx3Takd31kjQfXJXoIuYh3lD3Z3EocVYXGaUplVrVWEoFULuuVxQBop40d1XmfO0fVvtxH+glK4DEPuhjkm0hFDZsNzBAPRGPHVU3MdJF6vz3SYcajLt39ral/CG+Xfequbw6qUkNfmUjD4Ya+Z2rLIswicDhAqVkyaZKIjTOViyrKpO+J6Ik2CW+IWU6arAsztkrjTuGYRi5XP1YbrweeqjuuuhuYD+HZTZ20yMbN2ifw8IOPrEFPZ6GgzvnG1Wt0QFNwV0YnjzLqxzLXi+m4ghTk5QAyXzpJDjp0HLzwYnkzJ/bvX9obNWzl7ca2cdbjezv3nrUyBXbva8YPrB/geJnQ2ghDCLF6iqIiAQfVq3iE3Q+WNe5Ie+PTkvyh1SLxLpeoe9JMpFeTJoHqtZqDlIoEv40JvFhP/S9cIiFMonAfo9BiB2jtkcDIYqM1CHXsaZK8JorpffNldJj3D2zf0p9Z/+UPlQlwe2+V83l1cnmSumx8j6ch1BKfbcUdVR6fhe1BEvbqjFzxbJ7o83o7uVr91jH3Buv/YbrHG4ncBZnVt2RNVJJCwVZZTY2SWRVpMEDXTrvy8Lw5Nko53xZ4Vuu+stNxEXngVG0Ko5Q8itRe2Qvl75zf89Qcypar4/obw0KmfngXlN+HzVy11yye4hbW43s7+3eYwwXPDYaLxjL/z5K2vNheiQclqULEcI1zxsAACAASURBVJLgw6rTDXyxahUvkizYD6zidRV7NuS9WUwkjutTRclPMCG6b2XUWJ3Xy7JgRwV7ufQdJxnkTvS05RVWTH2RepBUc3l1EnfdAIRJqBap2+E4BErfud/ffcb3Zt/9gLWG+762jvnvVL/9U/rQWVYkDzqjgO08BFrzPmRSfsZa9wn379SDjK2XoLQqBEUFa5FUwrVwKrWMqrw3XmMqX43czthevnYvsJB0604Drvc3O96oo3O+qdFqv2yCM2nEzBqppDuJAC98OnE86jlfVviWjP16bngKRKX9aiZRlp39Ffh73xEE2MPJk9c+SgzOTtEU4URy9n9ODs6d0LWHqLHV+PpLGvENkOB67j/t3m8MF7y/QK1MZR/tACaVsqNzxB6qVuFONVXYrFpFqQ48HKLq6+UlsNV08Zh7jULvhbRAe2hjLZJ89y2NiCbNA5oa2w21SDJwP6CLkUufTbm5UnpMDJqSJsDhhGV3HlWRqBJrkbSQ6xhs2P9O9RuGYTS304+PCHD60N5OS4Wu9TJkrct747V3hG5d6RlZtLLImUOW2xs2xEp4b+Gu4l4AMg/8FjfnS/qsJEyEMSTYtUuDHEsFc8NTNyIkvtg5Xz/cuiZp+zXUffnL3MkTX80mnnw1Y3KnHNsSzizfe9tKgP3oT85+kkjO/NUcnLmXGJwpJ5Izf+1Pzn4SxbmjwqNGdpOH+CLrWrv3HcOFa8nhs9Igdhz3qWbgvShRNgyXGAZJ38sHVvE6LXVZBFWrcKfdBNhvlZYg5mAhWH60oyaoXbVImq83cgXR/mG1X96mWTqww3Oha6FzKM3YhhOWQWylHVCLFMOZ9bW3rVf2T+lnhmEY9k/WgZ8AN7ctqdC1XoVKeJVn8UWPCVmLpNK/i60yEt5bbxJgw3D7gTFzvudH1/tkCSqRuCJzwbK1SCLdvyxESH4P5oenqLkcrt15V/lcDIItChHrs0xgX+u9HUSAdaETrvFRI1fcquf+K0F+Dx/Vs7/q3FsMCQg+pWzNXKC2Hty8imshxpO/VGGTFDglgmpq+QT1PBES4KM98fYHF+6oXj8OWoOpBgewSr9zXs7uW2A1dnFw4FI7rhca7owifMUNMtepYi8mqcqq+26ulN7j5k91kesYQdj/TvWH1N6A/dlPgtNKlT/dDteme9Mw1IKrfETzJuYc0nVBqH1ZpRYJZ0UWmy3uXQKMw/nR9T6VGV0KcQ09yEMbPdqhAquorVxreIr68Hv+zGTf3PBUGex8wARYBDI5DkfvbT851I12XqM75/taivj6lo69xVBEarTaL/TEEn1tZiM0L+mqoVw24KpVuKOqCledWd3IbdGk/XDOBYPZwlG0qxZJlxrbC7VILLjqLzwBXl595j+Pqm0ZmxIMkdxMqEWCINc6v2/dDnvbWmtuW+9xRBdHgO2f0odvti929IymDjRyO2NewrNXPaTS3+sjmSG7sWotEno8VjI15VhKCjXPDHAvAVr5pX3OkiXbkCqwaznWYXfeZFUTaUmbbisBZj/IZQU79jLaQYC3Gl9/uVXP/UeV+B7NAmcvQ+4vBiCEbNG+hQvAkiSjT1RVYdVQKpFFm+FlXb+O+V8/dFqSbw0liOmLWtVnSpJyu64XGhBEkrCCPb6qRBuXFgxTNYML2tJCrj90OOnOQYsz/7I+mICxX7JPh3BEV0VZxRwrbDdWUW7RWqTczpjssXBhXbyEmpYC3WtIj2zc0EZ+CeqtbC0SKbNFBiDW4yPiu89KY549PZ3WlTYNdU9kECWx60ZETYAfNbKb0nbnWAHuXoj9Ug3XJlVThauqxFJFFXZCqXhtyAorVcCqklzqd6qo/cl4u2qCdKmx7axFWkwkqE+jIaGnszQ4CwtgLQ59L2yQmV18crOuzuEPFc1ta1KO+AbmgXs+YIxmcVapLCIcL2w3llRucceTVas9tRu5L1xhWO3u7Y0K/DO5zucl2SRnnBVaJmUasrrSnb9VJZ9cc74606ZVuoAhoELsZMmhzPvsldUxe3n1GY+zyl4p3Xdnm1/h/tY3V0qP/eGdOq5RFFv17OVHjdwfkMTXTYL+r+reYkQEJ8iBMWOS2cCGIoEqsKlCXVYVdomotvlgb/73gVUcc/d5nVuBTi1rj4NfMs0+bYSQYkluVy1Su64XGkD9uoGFztgCkVUttUi4P4g6O4c/VMirv14itPWq3degC3v52k1RguuQQnlLNM5uLFM9dLSC87eOkq2+N/49de787+rf/9/h6t//H5giw5ulgrxHSr1N+7JYDEOpFgnM2aQ0hzs8dVdHrVG32J9V/qaJHkP23L7Xr9GO56G5XHoo/PmEkNWh+ndf5HvxqJErApDdPx7VcxXneIG06D9cO/UfW42vvxTZV4w2wXmyif3ljv3lqUt5fZAqvK2mimUZ4uh2B0PPB7cSnCWOrSX9GYdbQ4kb+khhgmhV0qXGsmZydV1v1L3AIETyaK3hz6GqqoYTlu0fVvvV96uvFon3afOHAHvbGlMgwM/YZ+g+7I3XLsiorv5ZV5VgLKzdWIFUo8dTCu3K116L1CB1apevR35lSLD3eQj9/7ykEx0Xk+0IRkNH05mNTSlFGUmXlsX8mcm+ecF53Lnh6U0W6dQy54vdy1RkY04oIMidLBkUeZ+9UrrPQy5tvNrLu0IPVVX/5vN+H1zlV0nhfdTIhj4nxonQPYLUaLUfN+/rwU1k1mc5VlSFH1jF63B7cIi4zDFxydE60Y6aIM21SFSrFOj1Js19GtHXBZh+XbrtVyUN2rfW0OOKPv3lPa7OzuEPFfZP6Wfi1ufeTIFWSl5GyJ5sly/Bbixdi0Q4Hqh1m/VAoJMgS37Pj673+YUAP3EUqiRCgqxk64x0HUcFLlnlsjvPnp6mJlEvDE+e1TXni1Ogoe6BDCDInSwZ5D4X4cE25nivAP7270vtkfOaSdhqZH+XJsD17K+oqrvV+PpLRnJ03AvcS6hGXEckowo788GFTUUCftU7loTdOzL114POmiCqJTlp3m2HCgxhwV5Mmgcsoq0T9nLpO6BE6DXaeXQlLGs8blyLBAhS1RFl7rdnE7UVQ6eC1UMqpBU5lru3h1DHUwnE4iS/ISt3JwAlv7wEOD1SmQiHgx6pwKLkExURZOuMQscRq7RsrUxmHewBL5O0suZ8z0z26ZzzFSXiUQCC3MmSQYG/x9i/u/5jgY5u+ZxaqsfC3fOtevbyVj33H///k1J9HYIbIrKcAVp/yPx7idGBqDo1RJGRX8x66RFTHvzDWjlVTRXq4uT3KLxKikgr1j3JYilp7raHjGpTn6l/SJWuN2m27Ymwq3JC2p+xic0ecLYmCbIari/SpC4bhr7O4V6Ak+ycfhasNbIOmtvpx/a2hXXN2NvWWpz+7EChLiistCqQVlwtkopyix5PRe2mr86c+/UTXl7y67ZiYC3K/hApYfUVyU5x1GUp9TaUwdKptUhzw1Nl1pzv3PDUjYiIr2O/ZuwnKkCQO1kyCEkugR5Oe2tfxx4NIzjnu9XI3TIMcfuzS26L6LG3GrlbQgFa7qxwjC5HtQ0dvDSSymszFpoP9hFs3p7j4Crc0fcdoEOzJZlIGHXVIrGIt8z1Lg6Zm0um2VZiBDNDS/5jgj2npoRlW9kORZoF1kPauxmkLl/e2V3O9x7aP1k9bSGHVG5VSOtevlYL7U1NoQ4fT9KmTXkI0JG2Zw+86q9lVY7zzNR6lUQy9mN/DZFc/WQF+wBYPlgLfzwZIAruLmvOd+HUN5eimPP1VN+FU9+AVUBBQpbQqbwXklza/A/u1wyD/pAc5wBTuT8eHjVy10gqLD8BDs/5btWzl2Us1HEydA8AdLa2TaqwowgXy6iluWWzRpRbCfX4pZ67z4+lZKKsiwTTaoJ01SLReoGFrjdp7rOOFSVsPV3AxJl5XQnLNkTSNCG0SpW09woBbm5bk/zklZze7CrHvO9X6mrvdIDWBamQVs21SL9knw6BzAM74VgdGXiFgkWArZGNSzIKrITqepDJrJ9NZzZ2BVXfTTQAK3QNnVGLxCSabq1RNHO+HTDry4IKwZN9r+rfZ9U96Ngr7R7jSapDaBnzuodbjezvuPRmN9lZPjyrke2JzyIfJCTnYNuiClet4kXea3IIMX622FWNBc+vv/aIhbbVIg0lzupRnhNUxYHrets450sD0Pyvb9HDn2xNCctuB6DCMVexiqUtT673bcrDgG5Cczv9WD7FOWxltretV51qg749/r/AKmtY+Dn/9GNIFVSatOZrr9Fjqczv4mZzXZVaOrALN6/cqeCxPouquV4YljCRlbApozO/R8FcwVTqTGb9rKQKHAlBdOZ8FWqTJOzOC59OUNOuFz6dOO5asHeR9+7PDU/diMIurULwZN+r+jdfdQ869kq7xzQV9hGlAgmdF3ZezzXny0OAf6ftOUYHQ1ftkU5V+IFVvK4yiytK+GV7jHVAlyWZpcjqqkWSvt5korxkmh0xA4QD0AwtSoLvk86nK2EZwtJNvEdCpL100EsVSGrkt6XkrvmPKVKL1Ny2JqO83tvj/+swShKsUhf0S/bpkP9YSqQ1X7uJ7k2paxhzPMNwlGpuNThfe91NxFcUYpVCDmkUUo4FlVm/Xbq1RySYC60zkq1ForV8QEAgKRqC+O4vDE9SA75cFZondEt7YFZMgPUSYIz9OURwSfO73qyw+5qi0JwvJQTrUZwE3b2Qm4MNrCfKicxKqnBhk1cV9iBu927f3C8J7ahFWkwkjms5J8fMbsCCnTR3o5jztX9Y7XeTnB/b+FnYV82V0mMaKSO8T3qRkpU96EpYthUt3aQqJwFyHdpTN0PIrsxYb7YvBu4tP7GOfhZYhAD/kn065NiPd563FNh87XV9fOf5Xr52Ew2FwkHeHhwOgoK0Vf+SfTqkoAKHjudHI79zdS9fqwVU66P7dg8l992K86PrfaQOXGukkpaxDssEUDFWqJs2k1k/i7U4I3VGCsFaWvru3XCsyOZ8mWnT/MQ3sHSSYBWCJ/te1b/3Msfy/z3XsVfaPWYQ0mtuOnRI1fU6fiGIL6kvOEaXoQpTe/Skmlo+0WYlmUsVrqaLx7qd/BoGTE2QjKVYSy0Sh4V5MZlILybNgyjmfO2V1TFR269rd17DHst5zb6r0CrPBjeXSw9p+9eVsKw4s0uZX6Z0Di+vPuvFtGfqzO92+r7971Q/t50ZmQe2/53q554p3k4THQW6wCLBe/naPV7LMSu0aS9fuylLNBu5ncC/WUXSGtqnikLd6WFVupEe2biBklcUInO0XhiWbA0RjoSi5JwnmAutM/KuU1h1dq8HAu488C4guWXO+dLsyvNnJvvmh6fuqpyDZaeWhQrBk32v6ucJ/7EEPjuEMih03x8PVAJbz/5qGK1EaAiFl8tKHaMLITUHSyGg1dTyCaejNxxEFbUqTLIsV63CHZ5jPEgV3naS7RkHXZbkxaR5QLIWa5lB7pAZXpesqs7Rhv4wNJdXA1ZTiNlgkqLqXoc6yYavRaL+LGHuySvWe7oV9nb6Po2Ueq97s33xAr8SnPoueA6+WqQoOoE96zO60NcJWXiDZJDaWSudlIyZ31UhrTjFGrIW6UOANbJxKaTSEhRPERXYC8M6P7rep6ICW5nKPq6Tl5dY4+qM2l2LtDA8eTYiu/MmK23atV9DqNCh+ikIdDoB9h7Uk/62Cn7+eSX6cBqCAJMCq7bquf9u1bOX/a991MgVIWZ8vTlf9PgxuhhVq3gRnKj6EpsfWMXr7STCzrkLd1BV2EuLJl9DODG6E6G3FokcTgWuAncAAVYOemKQ4OC5QGaDtdci4f5ICv6B5CbA3j1prpTe99KcLw72T+lnvGS2+VP6oSyRtX+yDvjem25rgmUjtzOmkozMIsGQtUju8cBs1SoKdaf29epAarTaTw+pwlcAiZDHVhiWbA0RhojL1COh6q38bLK2WiRwuzPLljx7ejoNnTatwwrd2QSYHqLpHEusnpDkfNNxfzyQ5oDRIKqtxtdfqqY7e3O+/vlhFLhU6RhdAse6LFwHxCDBxXLwHIWr1fZ3DD/BKboOGS5cdeeCL3YD8fVDiyXZU4KHEtjwCXAVuI29vfbK6hh8WjMHCQaYDUaVZfS6dFyDwnGZaq7IH9KoYP871W//lH4GGRhl/2Tti5BZXjtz86f0w+B5+OeM0TniqLCXrz1UIb4IWSWOBuzlazVJYo2rRQKzVRuGWi0S7ni9hPOj633pTKXMQ/hw4U9iZPYoQRmqhsiyKsdBiLTkflh1S7xY+HTiuCa7M5WkO8nO2sg3uArc0QSY48GyfOBl6YD2eQTi/vhBrDuq5ypbja+/hEh3ps35OrPGuf/4z+Eo0Ln/xIS4CwE+v5sq1NHaoAdWcQycbEuqwu26z9BYMs2+dgRiLSXNXajzRHm//NCT0hxYxPsHQ1DbVIskcVyI71fUCNqI2YFRb7YvXrC3rTXnfanv7H+nsA92WATYnetdO9oH3TLt22O4FonnXIT36oa0NVmCECrVImGINWQtkopCjTter0BUiSXNA/MqsIEwLBH7NIFEH12H+BwvSlyFq50ylX3IOWDDMAzVudug3XmqzKolgjwfcQFXI3U0AeYcKbJVRqgIlYcQ98ePrUbulo75Xv+cL47IPmrkruF7iNEVB2R1HYBngolztG7yNET4liQ5LxLtvd0InbVIJCs0GOlm9ADrQgTk11tr5D2A2K7JxweoL8KlTkvcO6nAjHbBUU4x9mGkcshDc9uaJNmNUVXWeT07pbm5bb1/s33xAp8F2jqwty3shxuROeIoa5F0kF+SYts6Z752T+G4F5D9g9qq5WuRdp736iywVCBVphL6eyJCpP2kUbaGCJdMrWqDdvbDVsKd88BZn1HMq8/f7kY458tcrIolUXQyARa5DpU2ieZK6T2x9QFwr3xEVHzO9xGm1mir8fWXj+rZX0VJtMg9j9EBqKaWT1Sh7coEwukFZkWtAOu4b0um2d/OTtpATRC8Etz6g7pkmn2g4VttsD83l1cnIyK/3sIHTvyw2g+R2Ey/VkrCMu9CnuqK3z9yd3EnwenQJSumzW3rParq8hBUdMYWqgKpuW2996c4O+nP6ccoGe60WiRd5Jem2HqQtxvrrUUSVqjztdeN/M5V9Di9BvrcL4k8Bjt3ReqE/OFRoqrrEQnHzQKLzvGGSSzzOjKVMpTlmYSFU99ckiSbBwunvgl1IQeOPTx5FnrOl7kYFmxR9AoBdo4rNg/MQ4JhCfDXX4IFXDnHKRLP5aRKSynJovc9RgcAvNsXY4n2I6rArAdW8TrUPVoyzf4QGUyau1FU9aBYHEqc1UaAXTs0eOp0G9RfCNIpvshWZVtTYrMfENfrncOtcnol8ocQ+nuoA/ypyUdklvc9OHVVmfyi877b1trRrHCYyPLXIuFVbiiopCirKLYeGvmdq7LHRAkntK2aV6HGKci9DKkUZESFFVGT/bPEsrVIuCRosTlevIqLVbMzG7u4+WcPpJ8FWYiS1LnhqVAXsh/zZyb7NIdsxQRYggAbhvjfe9bnHui9PqrnKuoEmM+uLBuoRQvQitHBcIOhQNVXVrUQ9DmR9RLq3jDDp5LmbtTqpq5aJF2EOsp748EWnl8tHYi/B7vWyHvSk9jsO770k1z11U3qLycB3bbG3HAsIbXWfz5+VTak0u77VWiyXTvY7ytSi0SaXVYFN2HM1167lUjyZJkyGyttN8bN7yrYqn/JPh0KHY+SML2Xr9V61e5Mg0yQFFoDJKICo3O8UDVEmcz6WVUC7N+Plakc4KzSP+effuz+/PyG/vuFcA24vcAcxHd6kzVjOzc8daMtxNdd0EnQKgRP9r3QpJKwN7kH9UiGiI69Sic917O/igZWySjOW/Xcf0XOEaOD8A9r5RR8VRJ5BhdceQ6uixD3RCQAipSkrAOLicTxthNbnnuSNA8WEwktRfQ02ILBU35lFWRmmNCZF00tEgiJB91Tp0EkMEqGwPpVW1ECbf9kHfhVZGe2l27XxlxfW2uReBOf/e9RUWxJSmkn1yLhrndvvPYbtIrXbZAKpULmgUXUXOR9crVIGBLLqwLTAqyce4EnyDw/Y6zebB7QFNu54el91mzt/CeT/ZHbnTFr4dMJ0M8hKgRP9r06SCUOUmowMj6la68iJNhNkA7N+RqGoyi3Zoudmd9r6NclZ4vbWjUYQxEa0ptfopZoNxxLF/l9AnEfRGqHFofMyJPgdNYiASm/u+2alRYlgegMi62YjkgrjQchqJSaA/ePV5Tkt6uCrwxDhpSKL3/dkIiFOrBPXrU6rALzve+n9KEOFZiXGKLvU6kwIimmKvVL6DEhbdWGcTQjvTdee9drc76umnsDGzDlzPvewIVIGYacHdk/Dyw0C4zMEUPVEPGSadI9IMFVfLkfxKiS4Pkzk30YQnnAYylWmCMWXnPD0/tzw1M3cIR9bnh637uW2dPTaYhE6F4mwL7zCXwOCtqgde71USO7ySCif5DmfKm1SfXsr8HX5v4gzfs+qucqpOPIXFOMDkLVKtyBJqb+mVytFUkA/b6LgwOXhMhem/pttdUiKa5bQwnqLJBOSCUi4yuAXokSQZuvA3dMnXQya5GU541590FKgex08KUuq6xg3ZB8xy+PWh2eBeZ43zMd5LeR2xlTJIVSKutevlbD7efn/NOPIY8pHexFqEXaG6/1VFOBNVJJC5HIzMYmLtBJKhTLRyZ5STRqYRazLwevI7B/jkoknH2ahEZuZ0w22I30s8ELN63Zm6UN1T8R3qO/2ui0a79G0qYxJPjAr0LPDU8p/8x1OwHmPYbIWJWuveKw1fj6y61G9rGfpLqKL4H45ookQovamD01+FEjdw1Rd3/3W6nJRDyuRup6VK3iRQ1hVU/0zv7C9P4KEcukyfUHQQeEibqYgrsvnDidNO+2MyHbMKTnYMO9qpxEtblSes9TPO+HSvWAb63R74NsoAX36jrlFwV3YJTPLiyS7Oy3MgslQvtnf3nVXITMElXubesVqUoJAkKzssCztiT7cCfXIvUKUqPVfhn11FNQcVZg4UohyWRnNFhKthbJmyl2HwJw7J1dY+TM08tWZ7F/NngxNzxV5rURBwizRsWXNNc7e3o6zTwGo6KJhQ+FAMueVzcBFoFUjVI9V/G99w+clZp03K1Gtmc72z8oOPVFGtVaDtWYNzUaqvZIyPqcNLFK3JJp9i8lzbstIu2Qybs6lGJdtUjetS0mEseXkubEUjJRDp0rae4vJRPlxcGBS+0mvh4UOndDpIB1rOZyiVjDwgJELRLVaq0xBVvlujsJ9nb6Pr+im2o95LB/Sj/jVIGDtrBt65Wceswxh4whtX6V2yH7KaEHNTIQJZvYrlzZCiNaIJaseoaxkMraqmlW7W6GbIJyiMAiJFgmFMs/D8xPZINhWGJBWpLXyqH+giapU342IEGwTMMuhv16/vT0LsdxdlWuMybAnU+At+rZy0r1SYTwLFd9fk17r87rihExou7wdVcgyZlJhFMF5RmqJdPsI5HBxcGBSyFy7OvNNQyHLLISmheHzE1Isrhkmv29aGWWhS09Y4uJ8ifbqfdp5JNzn+o2ZSR4AsWb5dULsCS4dGBz2Ly7CfKkVLxuSDSBuvU+npllgqrb3Lbeo7ZqXjTyO1cdsrfz3Ft7+do9GokTJsCYrlyVD/57+dpN7LUIWLPRhatFkrFV91q68/nR9T4ZqzKVGCIzsTKhWN5cr4gKjF6bfCAW36LVGTVyO2PSgWtHyeohq34UAWs6057nhqfKtPndhU8njnOS38P509OHrL5iGmIC3A0EGKQ7OKD+cswfewsbvhWjS/HAKo5F0d/rrX9YK6cI+8ARYZDaI5Kl2N/32yK5SL3PUtKcELQLg/XS6axFakeKswrkCfDqIa7KJ0hUYQmg7lokw4Ahwe7716Cuu11wFNEgkZUmpZJ1Q/yp0kH1mPk+wHneRn7nKksxJc2uyhBNtCtXhaziCLUHWSsplqQLWr17Ld35/Oh6n0xtEIcyGnoQKRWK5RJpXhUYDcNy3wtK7o/ORU5+ln34szdee+d/+IOz6uM6qWVBmgXWlPi8y7IsSxJvapYGDT1AgF9Rj+N7wM953lfI8dtKgGF6g0OJ0iLviQlwr6GaWj5RtYovtRPgVIE5RF5NFa56eyGRZVEQiSSFrLp2ZzkbcjIBEoBCUq5BCHAbEq5VoEKAmyulUKWMe8xXOnpum8urkwAEmDmL6yrZ9D94PUx87e30/YBii6il3JbmbSv4R16ibsj+d6ofWj3GVSHJQsTeS/pALfMB3t+VqzrzSCLnv2SfDkEek+MhwTuSIt3t0EUO0yMboUApmfN5FmNeFRhnSbasynFIkk+adfYgba1Hfg5/yT4dIijAyrVIC59OHG+RXAwJBia+B6z+Xjdp+kBBVZZyuXU9AWaOijmfdwQyVYIPljn3qitEU2ruF3DpuKYYHQLNHb5ChLYK1PlrGIYhYgdeMs0+kCoiIBJ8ayhxQx8Jjq7j2DBaVT5jrSVgN7YVrcVRz7eqEHbfWuM613LpOy7VeXn1mWiwVyfCIY04korM5orUIvkqh6JQj706JZoCDNXnK/MBHEfw5OqMnK5cFfXXv4i1SAr2apFapF5Ld/YjzZFwrEMlFSejbigVZzgXzpYs1UuMJ/W7tMojuYqtnef+B0eGwXYmqHzfXYtxgGyiwViAdmcqMZ3/ZLJfxO5MXRK1SF1PgOXCQpmE2bfXV7yfXXSQYF4C7Niks5vBdOdcUULxjUOwPiS4CqwWAuxanMGILS+YRDBpHiwOmZvQlmO/xVoF2mqRELs3NByFsnSfRgadtGU2MQPpwVWc7xUBVG+v/4+IvbK61lwpvW8ur07izmk7DxbW3KfA+24q9Rrp9d0Gl9DSVV2fumoYYqQ08D6umqL0Ych6zakee4Sdth8I+/NevnZTlhiGukN/tQAAIABJREFUPoQLJyXvPN8br11QqSwiEWrstUqfI3zMsFodJiW9BP652qNEZFm1FD23TCiWNVJJ8++hgrX1qpBgh7Sz056FQtrytdeN3E7AxdLI71zl+Xct+33HkV+HqE4H1Hp14ju9SSOk82cm++aGp8qQSjN6DTzoegIsUxcp8JmJ9lkOYv8suBVJUiFX1K5gvoWtYorRY/iHtXJK61wwhxUaEroUVA6CqZRI6GExmUhr3CPYzLIHl4hJ/KIsHdDIGsBsLSjhd5RX8jGby6WHqn+Amiul982V0uPgvC+9L7hXwUMucbZhma5eIfXYnyQtoh5zHlMFasQTQwx5PtDna6/9AVPSHbuEhZKE1nkUyD46y9uyVWNISS+Cdx4XeY9soFRIBRQlo1amcuBamblUYNJ1ixxDhPgahld1xPVv7x2amu48bOIbGVCxQGO6dY9U4OHJlkNMVpWdG57eZ835aq1XEqxF6nYC7B5PPYhzBe+aU1GYRb4PJGw1crdoqu9WI3cLfc8jzq5ghqL8H4j9x+giVK3iE51qMNSMLwvaFFSOBXUNS0lzV8f+SJVPMpAnviHSh7V+Qvxih1BDXXXXf51rpNfqqiyinbOX4FmFDYM/aAq1Dst29frrhkRIN38gFjz53cvX7nn2ZTn7JfLhGrFCs1RgzAf5MiT59Ugp6fohq5Z6jfhaVuW4v07ID14CiNqJZTuCz4+uh9RA4VCszMauNbJxiU8xDodhBa5jpJImBWtZmcpBOlMp0+Z8ceBxTOzlaw/9Fvyf808/Fh1ZkO2hdu3GVPLqvVYqjIpRa+T2+krP+fIScJF70gsE2DDUH76TPoO5+33VLgJsGIZBIrNbjWxgz1v17GWImWH0uDE+IFStwh294ViFO7qvAXKOdjFpHtwaStzgJaRQ16CzFmkpaWItYiJQ6OklLWwIlDqhVFNPXVsx+seCGFYEP5PDPmenwbMu8860uirqM5RkitiL/cTZMOQtzTLBVu41vBIlvs1t6z2p9oiFRm5nzCN/Xrqx3MxuWJ1Cz4VTpnBVQCwCrkLQSR/6xW3aZLLfS0j75ntRIidSK4QGWQm9l3Kc1j5FQ7gylTLPDDFPP6//mrwld7cd0BTgvfHab6jrwK05EnJs0NLRWeAitS6JFewBPkBniP0AnfPlWKzALT96hQC7xx2zBQUJ5/MVOxhU9LjABPgagaz+YRhun2899x+A0KtAVVKMDxRVq3hRsyW6Xk0tn9B5DaoK6mLSPEDtwm5SNPW4sNeQKGsjwaYp9cfeXlkd06hyhkiwDWPvWZO4zjXGdRKPCVSLhPtj1fFPJkMzuAyCp66e4omsfLBV+r6MemwYIqQ7aL8WgWPVxRJSod5exofscvic5A/y3mtoH+b38rWaYciTdC21SO6eegnWyMYllCCiZFCUxKLEMJ2plGVIMIlgioZiqYRh6QbOkYD+O/M/vBJdOJcCr3OBZn/2k1lvdnd+eOouD+H0W6f9mD8z2cd7DKDFrFlC0UsE2IPrWFtzSCv2s4iTFyIYkNlcXp10BYF9ns+AsvvHwbU1a0t7DqnJja+/fFTPVbYa2d+3GtnfH9Wzv8YzwR8QqunisWqqUNeqBqeLx3RegzQJTibKS6ZJDHAgEVPoqqEl0+zTZeeW2as7A6uD+FJJHkT/Le81OpVGnASWELJlO09idd2jjrRpOrZjbFIzUYkRIYycimrA7i7b1Sug5j7jvw/Oeexta0027IpmL4YLnXIWJhCrTFNMWXO/3nt55yQJx8A+NBA+JjKz3AtIjVb7acTQTwaFVdzMRiDb4vzoep+kCozNyJAJxeJb+DAsncD9jHruBZE5X9zPN0p098ZrF7yfOx4SzEmAW7VIrgrMtCzjCLA756vV7hxQoE99Q7W8x+h+bDW+/nKrkX3sklLpdGeE+P6+Vc9eDpyDoiZvNbKvcYFbMXoU1VSxrEcFLkZSLyFkh06a+35ldClp7i8OmZsoGV5KmhNYUjk4AP5LmHQuEBIskFodBfk9WqEofvVZYIZ66qYpitqHyHMz8BZx55wR1zux4FYUMYhseMaVa07XtRnzE9JwLRJ0Vy9NPfbjzfbFC/ZPqe/sbWvN3rbGVBKe9/K1mxJWyd/UenjJ6cuY/TFnGP2qsYpaTUpm5jkmLnyo23F+dL2PNMuKWoe998jYmP0ztdZIJS1RZUSdDwWrKUKWznuPA+lhjEowHKogY+eGKXPyHrgJ8OnpVpiUO7dLfa0XfLXw6cTxiImvdP9vjO7Fo3quopju7NYmBRXdR43sJu97/aQ5Ro/jgVUcg7REP0gV3upWf/1YMs1+auVR0txHyWCIeCbNu4uJxHH3a/sEW7FwDx3X/knnU12cidDRkl9noZ1yELZiUk+dCsEm3rMfVvthreL0xOx2gLNy6BmO/PGov63XShJZgT1iapEY9UtH58POrkNgb7x2QcYq6Sd5KqFUPKoS7wwuOi8MWWHEc0zczHIvQIQM+oOohAlwpnKQyayfFZ/Z3djEBWDhr0UwFEuQuEcFmR5u7MrXXovMDbMe7oikL/srhXhIcNSLVbMUozcBYYXGhVyJKspOAnWsBH8wqKaWT1St4ksQAmwVr0Pty5nLTZQDVuGkub+UNO8uDiUC1pzFROL4UtKcaHUAY17jHlPcegwQLEUCdC0STtUm4c3y6gWNM7+0FSAWjjVZ+ZhYO66tZlleI907iEAs994Tz9FONLetSRox9KujUiFV2+mWE0CEyGJmc7nCtPyhXUK1SL59QkEl0Ar90AyZlIyC99i4vlNpYk6wL+OOSZpZ7hVwqb9H64bvfWJEVpww76MzuI51unKXZk2G3pdIGBYJ7t8HodETlZEE16lw03+8Rn7nKutnjRWQtTA8eVaEZPrDpKJIcOYkvvukmeMYHwZkk54d63SYtMraqbca2d/bcf0x2ohqqrCpSIBfQuxjyTT7qKouRd1lHlsmfEqT+uuB61o57oVo+JUtnP5XOhB/Dx+5BDkuIfhB/tj0lGmVPTdXSo9Jc8adApTIOkot0pPrWZh9xJRv/hexNEsQWcNgEHVk+Ym6rHoMARWbML5jFOZYfoiQWFzglLRFm0LMPavp3njtXa/N+eIgYh22MpWDo/fx1QnJKMU41TU9Upnw26Ytq0JMDRa3V9OXbBiW63x65T2IFHlvI7czJkl+MQF0/D8npDl5D9xk050DDr0/2lAr/zpg1SyhoN0nkePE6Cw8IqdCC6c7KyvK9Vwl6uuP0WZUU4WrCgT4our5FxOJ4xIK7T5O7UUhVT/EaSVWgUotEi7Rmgei1mf/TCyEbbq5UnrvJ4BuuqEiqcYTVncGWOqYJGu1d1wJBX3f7tCwKxQBpdQ/R/vvVD8mhKoVGsXbues/pgiRRWdz9dciwavAkMptJ6QvY2zQ4MR8b7x2oSfnfEcqd0lVQiKE0V+JBE00/Qqzh0xm/Sw2nItwLYYBG4qFU6JpcH9fPyb8zl4jva/+f8PjMGIuh53noZ8PSSs1aU7eMPjmgFldum44VmS1RiQyzkJMgHsXPLVHW/Xcf1kEVTVMa6ue+29U1xyjg1BNLZ+QmAt+onpe1WRklv1XNDkaOvmZeu1J864EOZe2ZtuCBejo+1XL2VFSbRj4Xl6JtUa4XrlZYEadgICNvGuIrx/2dvp+QN3dttaIxNElpk5IlLilWZbI8p7PPefk0flYYV3WAZo+DQVIgqgjfVn8WOH5XdkP+XvjtXe9ONOLAlVOcWFSIrOzfksw2MxtZmMTVXQtq3KcZc/OZNaJD6RVQ7Gce0YP3vLDfWDLdusQHDn1/7t66C3//2/kdsboduid5xD9wK2FmRv2gzPUiviZZuHUN5eiskLPDU9v0vqFWYgJcG+DFoS1Vc/9h+cYqvPEzspGxgFidBiqVvEJf/Kzevevar/vkSoatkUvDiXOCpJLbK2DTvCS/8Uhc9ML7ZKBlCKKIYJAnbgBUghRi0T6ICN57DWee9pcLj3EHt9JjO464ouCXgHUIsCvjl7PXYPUUo5FiCyaPi1di4TZZ3Pbeo8GbumASm0KeiwlWzXmQ7XM3tDjKBLznuvx9eAmLWNrjbBkU8ISfH50vU9FBbYylX0cieUl1qz5XHmCXrnLE7zl/o1bE/obtbwaqj4zjCABxqnBe/naTceFsfO8Pr7zfC9fu4cqtSr9wL6fiXus8DoeAosSz/lPJvvnhqf3IyK++/75Y1nEBLi3gUttRmuN/K9D53+3Gl9/yaUiuwTXrUjCke4/orzuGB2GB1bxehS1R1CVQItJs/UBF7VFO6FaHKnLbSC/hsFxDzit3ixIWphDH2iAwqsCgVi2xlokyeteE7q3zgevMZJ1OjVa7c9k1s8ehcaErYWdBiF7sktMZeuGeIksbjYXohYJnTEWQSO/cxX5IFyj9esqEURkntAwYNOXpRKmcfZshYoYmt2zG8GjnOKIo1h41FEIVXqkMiGr+ob2LlGP5Ldk4yB0XZmNTR67s72yOqZYUxcgmH7SSyPBJDg/4/KVZXvjtd9Q4rw3XvuN9LPBmQZ9MD88NeG+Niq7s/Ccb4wPG+587+GjRu6PrUbuFvK1a76vh0KrWLPEuLojkvU6rkX6wFG1ihdJlugHqcJbiHOoWJ8RkjhhGL652qS5i4ZDLSYTaZzaLDtPCwkcQYfelwLJDD19tjWEV+lQlhWOvQZ139OZStmz8PGGxnQK+EOqjogptwqM1A1FUYvkt147pNvaJ/X+ssCyNeKSX1vvVagyCqlMgOnLTkCPlEr1ELk+cQLMsHp2I4QUT1+vr2GIW4b9CilJaWaQ8FCWgtTsLmUW2Lc/Kqm2MpV9FpE2DC+Vn/93O9kNFMyRQMmuCAlW+dn226dx4xK0+f2obMz8qu9UOa41iiGKrUbuFs6C/KieqxCIbSsMi0mAkbqkrUbuFtl2HdugP3hU08Vj1VShHlZ/C8ppnCTl06kzEkhtTpr7vmMGiWQyEVJMnJnjRNqpT1JXViEQsmonzbvQKdTyBDgcMgURXoWmcNpq1UXewna4SqjAa1D3nah4cHxQlIEbYvUMYo5VRNFt/pR+6Du/sKWZl8jaP6UPIWqRVCBC8CjhTmDKLWT6srRFO1+rOUm5Yu+nPSjoZjhuD0ESiqQti6mvR/Ox8vO24Tqj9MjGDdHjsOzKdGJNn/N18xdEcyP23fyKV6IPTz2wSPBevnYTcs6XNN5Amt93Z3nbTnznT0/vzn8yqaXpgHYPRV73c/7px3v52kO/yr43XvuNN2V+L1+76T6seBf4HuZrNdGk+paDCKP47+VrD1n2d5574j6s/Q059s3QdY3XysF97DznvR7Sdbj3qazycJNCfgN2ZRYB9sjyVuPrLx/Vs7/Gc8Bditr/TpRrfzcjS8aspopl8NojgurZ+rpp9vGERHkklkiok+aByuxsVHB7jEPKNRTkCfDqob1SCiXigoRXhVRgrbVI/OR8eVWZPKqGxsggSCItap2TYbjzt9vWmvO+1HcosTQMw7B/Sj8TJaaydUO8RNb2zRC75+O3XmOuUQQy6ibuQ4zzIUqGAIePBxmupXIs4XNjLN29BM/9IaLC+p0hgmFYB8FzC/UJHx0H40yBtkEbBoakZyplGnH2VxgJPGR97DysLd0nqb/NldJ73t/3OAK8N167IDvni3v4w2OfJu0vQmsz1u4MMedLAwQBZjlmaLVT7AC0I4LJGuUQ+XdDOx7tfb9knw7RzrE3XvvNMBznD9XNxLgn/P/+ww9vWeCZ6/WSoXkJcByE1cWolRMXan83D52VeL3z90QkYTsPrOLYg1Th7T+slVOqx1oyzT4ioUXI6mIicZzUmetPbKbZqbuBBOvuHVYhwCG19ofVfsWZq1e4J+4q1UWkvfqun59cK3b1cn9wzWyAzJ0Tw6oIoU7OfC+ebHpKbuvYQoruUVKz1GwuM6E58D7RWqRnyuQXOOFYelYWX4sktbf6OKbOSOFY6Ace/If5nee9NOtLIm6p0Wq/MAn1/U4QtSD7iafUuZ3zY2aBRTuG+dKa3SqoXc45X67f3y7RXeN83yta5R0L0EnsvKF2JDVt4dOJ420hvxHN+dLuCe/reBZO9RQdNdkbr70j/Y6TechIOh7jPcy/L3vjtd94SD32nkh0Y4um/W81so95gq0MQ0AB5qhciglwh2Ln7+bzIwLsrJ2/m8+flk3tFRLVdPEYxHGYHbjI7CtR3XVJLVedkM8q3W2wf1jtd8On1tDF+wfcVrQYN5dLD93jrMmmNjdXSu9ZFUMQVUs2xgotsGesjZoH4YoT9Q+JNDjKJ5n4oXOvhsHX14tahYXsyS4xFSKzwVokPhUYmSEmEvVt65XsnK8fKh92PdKHHhO6FknWgommL6scC73mwDXma69Zlr5uQ9qzCCMzvB5k5nHTvpA8ISUXeaAmm7qMc6aIXYf67zYUPA9H/Q8/m8urk9Tf+YT0Z1GIz/yGH/408jtXRX7eaHZSzkAsoDnf6c0o53xp94T3dbK/D6WOhXlQaRgK4y/YkRXV39Fy90TpOgSU4K1G9ncexdYlylwE2DDolUvoa2N0CHbKA1dR8htY/zs889qJ4Ep/9qUf49TdW0OJG4bhKMS888KLgwOX6DvrHIhVOpQO/n97Z/MbxZXu//NnXIlFVlfCOzaxq2hncCJLYAhKbBPdpbH4beh2GwMTXV6iwEybbUDBYRa2u4nRbEYXW1eakS4TVyxLoygy6e6JLBNkZNhY7ngRISGFLb9FVbVPnTqnznNeqqu6/XykI83gque8lNPubz1vMmFJiFoYsHAeQwHNWVOserJpW6RQyO59s3A5eHHwSmGPsXBvGZ9+9td+pS+IFvJ/4WHGB2JWRciyOcRgjy4Vet16MvpK1XOsJLbZtkiUuPfX+6n0vwkoZsVt/CEIhfa0vpBw3qTbbItkYov60nQvPDtRLnS3Mnru0ST7sovN4fWv08vHDUWo6v2sN1WnLRKvKvX4+LfDWQpgQsBRTA8BL1Ef2lwXSAhwXv7Uy95Z1SiQpEJYIWmHQt8YurqZVp5vEknnAr0uDDlP8uiGocEhSZ/9oWdUlNLCek4T54WsjQmZB33+StJtQpuJ1zHiO+la2Znw/t6IkAlguq0RQADPhXZ5LZcoMc19cYFkjLfovkkUwFX3nbfovvEWndtZrzWJSsEZA4tWjviNtj3ih0d3qxe49WBhwiC/9lVS+K5h2LLu2OStKRpGHS20pdm6yHiIwqdFfPzZt0egHprR8aXNtkgef7QC6WuZhGrLIbVQZl5+rkp48tjXqmvcezL23d6T0ctwoR0V2yF7T0Z/Z8O4bWDaz1P05dV2GKVBPuJzW7bCoRLq1i3IXnbZyKENPi/2w88IRe9rpJCVdlskjoiFrgOSA6wL83J0UyViSCXfVwWJmHrDjdbQTacAvki6mU5V6P0vTvwxMydC0rmke504J1tmL1YhP+G5w9YW9Z7a2Gv4OS37W8TsQ/jiFjIvtP5DkgD+e7O4TfcClgvgaFjzP6iWSrSgxhZIOcSruvek4jcynF2v5uSyrYQ0BFrBkxv0+Y21NxKOlHNtdWn9ZaHfSmGphBDezgrL+f2WsC0R701+1PPaslEQS1UAK3w5gn6xHB1f2g89Q+Pj3w7b/HIIbjn0z9FNaK/diChl84GBHl1aPOvMqzbseHmbpdWJ+pR3rz7lLQfjHv2W2kQIyr7A2vTc6uRlhYP1VhiGaFt/CZEl/ssueVErbk9fjUrKwYuydULUc3DZl2u6bZFYO+DPvBRbvLW+mf9z8Hey/bcFGJlklO8rg+fJrU95y7woDYNUBXAURZAPbE8ED12JVQjvNDbEns51Sc9Lbo8VrPpiOvi8fwO5Lu0zSXo5CrMHC4MW9+kt/cBeK6kWHRPAfsulqKCGrAnJADXxGxleJ/KDVdHtAUx7f6P2nDGQzZSqLJvQMsir5Y6E/Car8wjesovCiIMvL8JqnJFr/RcCqa6VmR/cIkchL++W3Jo+ql5dnfHrk0/aXxpVPbrhGtW8ugciGuZtHhW+8IHQnFq9lOjpDNpb6ApB3uB5RvW9rem2RdIJ/eZ5k7sZZS8qkw+s0xKJ9cTqtkQiRDV8OSLAV6LnIBfyvBcAadJ6sDAhE8DsZ7ufXjT/devBwkNI6hCE6Muig36+IdLPGcl/lzptZGyI4E7n+SaRmdgzuC43gjVn10FC+Qkh5B/N0hzf+1u6E7muUVqS5/XGC1sFHubfWHtIzlhbHBjkFcBSGLnKwQLlAYtDmYXtgu4MOre6RQAHeb6vOunNbBm1Q9ITkf6XFLlHl80T7qDHGiyiQJVZLYQ4Q4EUtTIbo5EvtCoe3VA8q+X1Hnh2oXPpnp22UCyvbphVSo6LVtUqo/RgPbf/Lq4N2rJFiGpVaPVWF3lHvQpyPB9YtSUSPfyKznARzrZE8ufXa4sUhlSPnlsag4nwdPJ/ecDCnw9exoqirGyFRtfLXo3/36Jmb21O+LQON4aurmiI39T6+eqSNxEHvS7Pa8vLdUmI8nT/3rx45u/N0h1ooaywXRLSxaxWnQmv6uxqieBF981qbUCpUXeaKOXvcoWwU+OFNCflGOelHdKv3yycTdPDmZTPmsK8m7zwMq2wbiZf2FJYuHgoVgNNEsCj40ubtnv7QlDxsLY9swo5vXRBLDWPLlXcCt7j912Y2wudS+fMdFsQ0V9ITUQrz6Nj1XOr37KJ672V2pvydnniuVdQrajM9vTVbktE2VIT4NFUCzMvNHidHfP+ysRv8DeOCpMGvPi15A0OMXlJVp/yPF6kSFCh/axqfv31D6+OQbzBN4aubqbdz1eXvIu4PM2Z5XXQkfy0D4C1LQINrOzcK3hV9x6oKBZfCD9PMz+YV21Z5HlVyt8Ve4Rjb51Vwqc7TdrilxoPefODvgyAxvx+kqdZZ488L3IrJS+56HxksDl1vmekc54PltaTsa9VPKvt+/459qOKID2YT72a9K9PPjkLvP53JuxaMle8EJYMk5DmWLVk3erQ/HBja22RAntauYZJ/Sv9L/Vhf9/VjXrZq/VaayMRY+OP1pVEIdOWSLMlUmhrRUmEc3qM6xfEgg1IP19bSFJk2sUgk9JuuKLZsAc8IYZ5vn5f1shnTCB6a7EQao2XTtc/vDp2c+jKXaZS9P6NoSu1vArfkDyKvV7bg43roAN6Zn9vXjxjQwDDnxKSe9Zq7lGv6iwbhES/86rOsu384MrxgclQbFYKTvsDtVJw9+nWRjTSsGVgbnA4n9ADXHAzL+TQQfHrD8EfdJOWRuEQFRVpmRaw4lWNtiqCxQW6ILCtSbLw+rLotBwiRMF7/GT0YWQ+sEeXaosk9TqP7tPilxB5nrNqxWcTkRl8QY1Vr9SuvMy0tCDEzGvEKbiT2P4iYV25SpfpFDIBNzq61Kde0fmgKrNuSyRq3FLyyHKKUSmLeOhcKVZ+FtHivMgNX6C2/LQb5b8ZKrUgROh8HtTL3hv99IPeSzvgkUex12t7sHEddKicW9DnV1v88opmIV2KekVoSdski/nBsUJUBXd9tuDUImJ10F1hQ5GDas6bxt7gJJGcg/DnjorfBwvCEN+gP66pfW7ImwXbD3l2TUVwcPZc26pEv0hm5/0NUW2LRN0H7Cc8+nvr/z5tCwS1tkgH4tn3BDPVq5+Mvgo908E+fjzIH5Z4t6k1iaAFnWlBK17xDt3Ky6K2SAZVYj3Wnp447/0v1EFI8S2hIBx/tMITdToilraj0xKJ9ezqiG9638ZroPc2vrSfhfgNib7I9fN94a2R5veDOhMRIW26JtXUCFFleJXPgV4rPMcjj2Kv1/Zg4zroUD07XtsikPjFvr69g7fo1HieXEIIWa0NXNLOD646u6tVxyiUbbbg3gWLUY4nOLAxo1shWpYvbLI3G6j24fWLc8wvq/Q6ZAVqYl9gG62GBHlTZrbnhWGt7JcV28K39XTunWjQ11E5fYmVnqH2bAAOaWYqJ0O9uWH+MHUfqA0TK55DWG8vXfTK90xL7DNeaZZmaXUiFIDhl0xdcSn7wmpQ6Cb2uWS1LZJWnnLvCuCgmBM4FJmX12+SD6zqxTUdojOwYn/80XqaLY8gUCHOE4TAakawfw849xiH9MM+D1Y32KgN+jNL43Mp9gKsl8ij2Ou1PWRxJlD+3ihekFd6RvHbs3g15yzfi+vcjlxn4CFerboba4sD3BywJCqO0wcXv26sHDnNrOseURHTkPDorPv/tvyQLG0RGLRtAN8LqWr56zcLZ40FsECsBhWu9e0mCfeguJbUm/7Nwo+qhU1UBCuk0nNHBbBKW6QnYwfVUTW9x9C8Xp54jqz7yehD1VZJSfZ4lVfrZe+NafgzbYud86eptaO69ng5tyYtU0xt9eIX6U8/+2u/UQ4u403VzQfuRDEqZt3c6BQTEZx1zQMWOt8XIH7bnxstcZi0sQBO/KzhtDXyPz90q9JHPptSq+2SNXkXe3maMy/X2QYqgv1r4m2PkC7Gq7oetM2RnyOceL00P1hlbUoVnQvuJp0fLGLWdfuNK0UPuu8gc6WNRjXjh6yNlsSrqhPia6nKMndOA881+EvIr98snA1Crh/6Y/5rky8wtgVrJwUwIWohzZH7gN5ck7ZItHj27x29rFYdWi5+k4tSmX/BpERi7PNR33PLaYukGVYdrC3yt0B1371WzVnVYwsRwR9/9u0R3XxgWUskyyHKwsrMQTi0ijc8V8KXRSBmwxHpVJD08ldU20IVNn83aGt0O3adbiE93uC8AOsV8i728jRnt12nwt8bxQui1kd/b5Te/r1ZNM7jR3KIvOpzPIzZqzlnvUX3uXZ+MKBadGXQGdYSpoPuCqQvb6XgjGmHReeg8BUh6rm/bE9cQpL/aJsU7zDNS06qnqlv+6B/YyfpdgFMCLywFV1ASsl7TFWSVpmPFs9KwpkOi6Y81zT1Ke+2anhzvew91/b1DvMYAAAgAElEQVS0lvmeW90Qa14lZRPBHopY5XxEjne7WxkdXeqzXfSJ7u87Pv7tsPr9S2OylkiB0LQk2uUFqkbPLY2J+gSPji/tj40v1bLM84Ui+DuyL4oC4r/8Faff6BB+HvBSHZql1QntlIwpbzfIE461c+tVL3DeRVye5uy263T4R7P0+T+axRVfDBdX/tEszZnaRHKMSRjzam3gknLbpEUX9GXIuHgVUKTOFtyZbhS/eqHG/D/EHK8qtwevCi0LbZFEAlwtdFvuVU6bXhDASgWqqNzcvX+OLWt5jxXaIoXiWSV8OhTPvDzietk7q1V1lfLE6PYE5npudXsDczw3fii3zrr0R6+0NLJd7IkWhHTqw5hqZeYgH1jueV2asSbexx+BQwE//eyv/eFI58mkB9vZgP2bxAphtpXS3oP538O/pa0HCxN73yxcbqfbcF5IQ2hOrV4SvCir6fz3yXqReaHWPLHdC+RdxImeV17XlqfrEESKeoGreBgzv4iWQEjXBkChcHbClN19Xj9fFkh+cKXg7ouKbGVBSzn/N1kE+n+0xW+29dZo3hapJQg91rSdyRfxXhDAhJiENKfbFokWzyCh/mT0VdhLmMWkojNtx6TyMk8w6gpqQTVY7bZINubvVtJq98MTlDr5wKPnHk1KhPKmXpi1wF7Gxao6AevRDf+9RfekZyKVDl7+zu+3xW9QrHLvwfzvtEC2GBqtlSrBiql/F9cG+Z81vVnELitxlvR5LrcXfRZJL2sha2OrfWd1Jqb7YK9DEClaxa04bY7Wau7R1aq7IfMiq6zNWhsjQa9gHpWCMzZbcGqVQXelMuiuzBacWh7yfVl0C0LRb6Qj9lIQhwYinR6vuLYBxUlsCeDW07m51tO5n/c27v9Gi829jftv9zbub7eezi21fvr6TML9iYK19dPXZ1obcz/Q9vc25nZbT+eWdOxp7GN77+n971pP5z5PvF+7LZKk7ZDAe2zQhmkiLtZH9/eejH3H5gyzmFRLtmaL47nVLbYlCj+2UblaNm8v5f3aDB8WCkomJFhZqI4v1WT3jJ5bGtMJs+aPeEukXoPzd/YVJwUnlhPNvmhuiXOJhfnUUEyK5QX/rZ4lJPnzqpfSGGiyEntJL1rDa0TPla0VkZTWAlkbW6Awz2eSbK83X9IgKSMTrkn5wWw+72rVmRCGRQNyf3ncGXRuGYvgQX6v4G7GIM+WKyrToJVuWyQlO8prfzr3OSsWk8be0/vcsEDJfXN7G/ffCm1uzMXEkKoA3ns6dwe6j72N+9tJZwLPsx2NVhx/MvoKKGYjPaYBXucfk/r2ygQvD4OWIXFvaw48t4LiWrd1bIVfmET7CsIpe8brS4hKlWVfEOoKzNHxpch/M7K8XpGXV+IpXiHEXuukLJ5HpwEWXuR+zgSpSsmFJgHdFZJQ+lzwq0W/Yf6bfS57IdarPYEzFHvCz98w3Fx0DZuPnfjiIghtT0qjYV9UZnUmkDVKXtL0ZJg+0gG0PMF0fnDNbfeeW606E6YVoGlshEPT486gc8vOqWWLag9g1hPs5yEtXA48tfzhe1ofxob/71JxYdy6KFgr17aauFYS/YG3FCR8GREcy1vWsZMkrFUE8N7TuTvK823cfyvyaLf+79N+nZBmbW+uqJDWk9FXOuIWgk1vq4kttp+nSVg1r4iNjbZI9bJ3Nhy8vMReAOr9Ze6Z0fSqztixkyCSw/7BgiJVJuvtVRI8uEJPrkI3BKMX0pD/jukXUzo1BXqxjRkh2ean6n2Wx72cRhEAvBZ3GZ6J9svnHo1QQCzjtzJyller7sZq1d2g+/1Cwphl+cFBX2G6VZLnLbpvaIGsymzBqdkUwO2c3uMDk+xcFcfpg1SRzgOaYcBpjFdJucOGrYv88c3CjzG7Sh5weAXo1k9fnzEUrZFQYmMBvHH/N6i92BkleJd1PcH6bZHGfgQK4MgXQrqQli++P7WWpy5Ct1oy7y20bl5x2m2RTHoY95qXNwloKPL4+LeRNBvdnGG2F7gdoRoRrXdV9yYU0wktkXoN/gvXeN2MFp0fLB8PTdcF+RxhX6apRqb0UjoDTZZiT6eaPvscQ3T+LtTL3htuv/gMzyTIQVd+MdArhRaRFFmtDVyC5PT6Ila1OJZgaIY9swT5wOtBTu9MZdAZtpUfTAteao67s657JGlNecBSoSlL46DoB4tpW6TWg4M2Ti3fO/0KfJ/AgywiyIcVhiwH16xAvcASsTkXXLMEFbYK1yXZhMwrzAmGF6g66K+r1BaJaU2092T0d7rFUtqYvFXPq+eW9yXWQOgfijfuo6NLfWBByBSy0glh9u0sxV6iqPTWBYjWfeM10va6oJ2RLX79ZuEsFRUV+dLt/11S+nts5eWB6LMlCG3m/j1WefnVq+HPhGRfobg5tXoJ9LdhytuVRdgoieAEe1mfyb+La4PQv3H1svcGxS8iZW1xYBBS3Iqu0uxV3XvKbY5SFMCEEMJ6bWcL7ox2P9+oEF5nPc3QKtJZ0rLQbsjmEBbZytZb/VDlTIPCVokCM8lLzHpPUxC20Ot+NrHHC+dun9GT0ctQMfvrk0/avw+63mMdfppaO9qcWr3kfzFY3QhHvezVIB4N3bYiXG+rRc+tzbZIJkKf56HuFH5e7tJduoduGqgKRLbVz9j4Uk1HVLJ2lIS4omjVDbMeHV/aP0ziV0SQ5gNMx5nfp0TypqjXvQq8l1i8kOWwr3kYvQHJHRZ5CXuFrMUeIcEL0invNvscfWG8uqHifY/YYkWk3+fZk9nLw5kQEvS0nvKW2WiF8Fzo1l0IkggTliwTws9p4epVneUsBPBswZ2JeXkLTo0NUYa0MTIQxrmvdGnDu9oREWyjIJb6UM6vMhWieRHASYWvdPYRO6fU2yKNgcPWaYK36qAQP154IE3PeW75xbW0K19n8eV47NzSTBi6yxaOso2yh3T80Tp9P7yAVrIdQgiRtTlStM+0XVIW6j1RR8OUFvAFdNBm8GtCCNn7ZuGyzXaDvGJJ9H/nbF/zMHpDGpkC8DoiCILkHk0B64W5u2uLA4M6+cE6ub+zrtsv9epyWhvNum6/zYJZlYK73xVh0PnJBY686WbXGVTEzFyIS88zO49trq7b27j/Numcfn3yyVmoF5juuyvv1Tu6L+rTm0R9yrunI1iTWvZoV0vmeFt1Pbe8cON/F9cGdUUrT/Drt0XqXOuJ8fFvhwWhwCAx5ovZpbu0jdHxpf2x8aUa63EN0fG8sl5pbQ8rx7ut61HmDTbXGBRmPf5ohb3vsAJ9oRum7qQFL4qjXvbe1MteTVitPYjeEL386tWiVwiCHDKCwlR6HlwmP9iv8AzND1av/FwZdIaVROqgu8J6hP1evlbyg3Md/kzTUsiJ7aAAjVdE7lDItq74JSR/QjQv1/HQbovE8R7vPRn9na4cDaVZWp3QrmjM+VLIYrOVkWXPrW5bpNiXW+2w6nL6BUhGR5f6ZIWgkkTZx599ewRWSIrf11a1UBTPK61TbErk3baXDxyt4Dw6utQnWufo+NKm6CXBYQT4MtdKiDMEnc+C0Lsb+ez02yRZSVtDEATJHFD+r1zM7irlB2tUfq44Tp9uPm8ghCNfgmYL7oxJcSxb598JOu1dVRixL8fQN+cG45Wu+CUEJghbkjZJqvY6fR10QM7LRlskuliWCroiMEEc3o7NYbEtUl48t7wvubpCP00vMLQFERvSGzJ6bmlMTXzGRbCm1/UWuw5NoRrzbicJVUWBHfsbx67Tz/NNN8+6G0n+ezu/b9rbVwf1zwL/v9tmaXUiyA2+3ek1IwiCpMZqbeCSL4APvLYmrY5Wq+5GLD+YEcKrVXdjbXFAOXekXYHZYLA9fv38YI02Sl3SCokmn6HQ/EqXrbQ81px2SVbP+OncXFKRrKyFLfQ6mwJYpbBV6/8+bf935XuPRzd1+/nqCzYNcWi3lZE1z61u/i6vsquO0E+rHdLouUeTqiKPbUM0Pv7tsJYwZAo76YpXW+2MeN5tA0GdeGaERF46YJ5vAmzF56AWx8Os1tMsrU6o/verEr1Rmm6+Uxlp7hVBECQRv+fvgQfX98w6tYOfGRS3YsKbgxZL93SELyGG3lpO7m6sWjTdRknq/XVibSi6hVyKYE7BD/8Nus0WTum9df/16f0LrY25H1R66kaeSQ6vsymACdFri2RCWuK3UfasV0vmFZLJa3EtqNCvT3leUvEwUzRDhtsv2z7+7Nsjul7S0fGlfU5+rLqtFNsiEaLgHU8cgrDv0aU+G8+xl2H/1mbh9WVRq1y/uqFS5AoFMIIgXYPA0xvxIng156y36D63kR9sgpVWRvEw5nXl/OCCG6u+2W3kUAQLKzG3DMOh03zr7nt753ZNhWMer7MugJmQ5sRBeYF10M2jVRSaMdFhs5WRTc+tjucnsBUL0ZZVhk3qLWoT3cJRYV6rsThkRKfuemJtkTTXJcq/HRt/tG4qgtN7ir1PKxrJ9DDr9RBy0O5I+N/+lLerk7ff7QK48WLhHXRkvdYsMDkfPFskVyQWvlp0n7Oe2tXawCX9nr/O7mrV0S6EYtP7K/Lo8vKDWdFdGXS5eWTdSJCjlEXbIdEQ/n74gl3VGzy/H7aVSANZmLPs55H95fw6WwDaIv1oKn61qzJrDJ53xGorI01bvFw9nZcCwqJfHHGeVCk7LXSKPY2OL+3b6pnLhgebeqUJMfBMi3KcLeQDH5Yc3zQEXOvBwoTv/U230rMO9Snvth/REfQ/n/KWTQrWoQDubVAAIz0DrFJzvEqzV3XvaecHU0WyVOB6ZAvuZsVx+oLQZTs9fjlVnWddtz8YPdnaofWXhf7Wg/mv9x7Mf+cLYpthx0qeWmnoa+ub+T+3vln4kdfXOPi3zdaDhYcmBa5AZ7Yx94PEM7pESP6FbccF8P992i8ofvVKN8+XBRo6HIo1k+rGPM+ttj1eWyTLnluVfclCH5m+oZmkhGjn8FooEMUTr6ZeaVM7orBk3XMK1nb3sLQ1SkvAdarSc9agAO5tUAAjPYG36NxWCmNedG7T9we5w55qOLTOWiuO0wcRqxXH6bPR47dScPcrBWdMtB6ET+svC/2BiNYOVVae88HCRNpil8fexv3fZOKXkPwL2yyE8t4/x5YjRa/++Wks/1sXuPiMClf90GV+kRibrYy0bfFCtGX5f1PeLtSL65/16kaaeb4QdAtH2RtMqyBNrzS7L71WRvx8XUIIGTv36JaSrfFHK4etrVG3C7is6fbzQ5GWDApgpCfQC2V2dunqzoSEYdSwnr+63t/K8YFJkVDlVWK25Q3m9Q9G5LS+WfhRVwRnIWZ1SPT+/vT1Gch1UHvddB2UvSejv+/9c8x6SKBKJWb2Xu0+wRzPrUlbJFZQmhTXgrZFClqcpFKtOW0+/uzbIxY8ufu6ubJsQSz96stR8arjtRX1BQ6B7HF0fGmTrXJ9WOh2AZc13X5+KNKSQQGM9ATeolPTDmOuuhts/15v0bmdJKpXq652H0hp/i8vf9duoay7vRr+rEOYO5zkseWFKIMGpxp0Hsm7EM27AE4LE2+rrmgVeW4NWhnF2yIpVW6lB7e41m12vqy9uKYoezejns71Azu6hbGi4lXXK82GMOvYSfLaJuUX+/++FEsBOkx0u4DLmm4/PxRpyaAARnqGtZp71KTfb9guiUYorBnPsQqQAliVgrsfhkTPuu4R+0WyXGFo2WGCDXEWFfYwqDL9sMNb0iLvQhR6XVIot469rFH1trL3a/fy1aiWLLEX7zNsuS1Sp6o1dwr9vF4m/1bTE0wLT+0iW0whKx07Mu8t17M8vlSD5PkWZ5rHSuXGl8Xp5vfFcrPBETWvg5/VStNN45z+4nTzUnG6+X1puvk6nKM43dwplpu1i+XGCfraUqnxnqn46pSAi5zjdHMnzTNkuVhunChON79iz7V9ttPN70vlxpfFmeYxVdsm51eabk4Uy80VyLNOCxRpyeD5ID2HShgzL6+XDW2OC+t4IS0VRCHQSWHL8X93ho3ygw+5BzgoksX36goKfGgV00IPcKev+9nE3t7G/W07J2oHDXEYeYlnEm7M9dxabGWkXd1a0LPY7slnz+i5R5N6ojPazsiWeNX1JrMCVt2O3IvbLrI1/mgdkudbmm5+whFqoFEsN2ulUuM96HMkxBeIkPmK083v2/dMNy8ZiC/lfekI4tJ0c0LnHIvlpnGROZ25i+VmQ0V86pxXIMiVnnVaoMBLBs8H6Vm8qntPu83Rovuc9fKuVp0Jb9F9zoZLqyIsgsX1BDtjlUFnmCNg+wnxe/wq9xPmVIY+LPgtHKRCdpN7r54X2Pob7zRIEpitoAjW3tO5OzYEa+ugovRSghD9DWqPuW4u4do5fx/3V4TzPr0vrdzdSXQEIisGTQpipd0WqV72nmuK867M71VFr3DUo3es93NMM6SaFa822iKp24GFMbMtnEQEXjlTcfi6BPRmFmeax2gvIMR2caZ5THWd9JydEMCBx9X0DD+BnKHtuYvlJqj9o4btCcV1NFT3Xn8xP9d4sbBdfzH/ti3Qthd+a7xY+KG+Pf85fW1aAi9Yww+NFwvbMVv+WrbrLxZWGi/mL6juL2nO+vb8z43t+V3O+rcbLxZ+qL+Yn1OxmVUItO69zZ2FM40XCz9wzmC78WJhiZ1HhSyeKdIBvKqzrB0WXXU9U8HLA+K9DXv08kKm7ww6t2h70L7ClYKbWFSkV/FbI8F7BO99s3A5ZiPof5hmFeiskPX4hQzanqmt1tO5n6H2OHtJqmgtHHsb99+mcbb1sne2XvbO1qe8e/Up73a97J2Feiz1BCInT1Yz3JjbFsliKyPt4lpTnqf3NLqLTz/7a78NLzAh2uI18vcii7ZItio3B6KSF+ZsMqQiWEes6XhV6TnTFsCWzxH8kljjZYKR+LT8uyJ61iBPcH17/vNAiMhEUzuKybYADgQS2GYonuov5u9A7NuYs/5i/m39xQLoBUc3CeDG9vx3sL2rnXUWzxSxiFdzznqLzm2v5pwVidW1xYFBo/zgqmvV41BxnD6p5zbw8vKqQFcK7n7FcSIFRmZd94hMWB/GdkitBwsPdVoYsRWcVe2I8onzSJI3lhaIHRTAc1B77F5+fXr/gmytfO/vnLUP9ObU6iVp/u2UtyvzZOoWi2JbGZn0BuZ5bm22RVLKU/ZzfXsmzxfC2PhSTUd0ssJRO6TaUlskjlday5utSwri1xcwCbmlgWBLXUR1UgCndI4wb7pm2Lqu+OzUs5OFZQfeOSUR2Hgxf8GWAK6/mL8T8ThrjPr2/M9Jc1ifc3vhN5m3slsEsKpIhYjTLJ4pYhFxiLOzy/b5DVmtOhO6+cGrVQf0IV05PjDJ/huv/VCiCKaKVIlEbaXg7lcGnVjY151B51aSR/kwYdLCqPVg4VXrwcJE6y8L/XvfzC+rCmhRLnFekXmBLYZAz+1tzO0Kf74x9wO7NhUBTEhbBIM8wXsb99/aEr/1Ke+eqre1XvbeiHrValdy5rcy0go35tn6d3FtUFdQ67RFCtoa3bbxjLoN7bZIVDXoEBsh1fpeaSanGFIRmrMHHYrTza/SEi9JIqpUbnzZKREVmTcFm4HdiZTW/1r6DP0iWmnMLfxe16lnV5xufiVaQ3Nn4YyOUFG9RzS/qvhOFqXzsb8lac5ZfzH/lg0Lp+kGAeyHHavvuxPnq/JMEUusLQ4MgkTsovtGJIRV84OhbY/CAleVgrtPe1uDqs6brGCtOE7fbMFdTwpTni24m4BCWe0vKJGcYfreQ9gDOAh91hXABmP+66z3rkPLz6H9mRaHradzP//69P6F4OfmAjjoK7z39P4KLYSD/83N4VEVwCF7T+futDbmfmAF997G/beB4DfKmwlpllYntPvuJnhaCdHPuU29LZLdVkbCPGW2sNdhRDf0mM3htRVSrdsWKWyvBPVG2+rfm7qIERTFspAnqyVW07AZ7MeqBxYqAlUrYivOu5PZ783BGoQvURovFpasiRVFAawrviUjsdBk/cX8HZvz1V/Mv23uLJwRnG3uBbDBvrnfpbJ4pogl1mruUfXCVs4ur23RWs09Cs0PXlsciBWD4RHz6Bbc9dmCU2MFayx8ueDOtO9lilTBi1s5tYidwJM867r9h7zwlXIItMnYezCfq0JKSLro9seFimDdasmCtkh6vXw5tgix28oobmt1g1eE67BiI4eXEDsh1dpeaTWPsRXvb0nBa1mcbl4iRL1QVngfi2q4cFgdWbUCNE+sBns3ttHei3o49yfBgF4v9AKrPMPIcwR6/kVh7MpC9uD5KUUcSARwvChRCoM3d317/udOijNCCAHmOauOWFRZcLY9K4BFe87imSKW8Bbd59p5vJw+v4T4OcTJ+cGwtke8XF2x1zYeujzrukfY4laEKAhgwVA/5d5Dq4WRZth01ntFOod2WLGxOAR7biOfXUa9fPn5u9ZaGbXzlKe8XTaHGSFk9NzSmKbXNfLy01ZItX5BLJhwHx1d6iMWUAqdDTy5F8uNE0rip9z4kje3soCihFjeBLBqOLfOGkS5sMrhz8FzhHqORS8wVM8vXL9O7rfo3AVVj60Pdt6g4nA6820v/Mbbq23vLz14XuBOiViTew1GzCubxTNFLOFV3XsGRazehV5gUUGr1drApZh3edHlej5YlFobKebiykKgpfMx3ubDyN43C5fR84vYJA3xm+C5tdbKyKCXL/ez0CBE+zZrSxQGnhbLp06NPT51uvb41Mj+45HT74Kx+Xhk5O7KyZO5SxkZG3+0riMo4wWodEOqH03aWI+Kt9kUlTBk+j4l4Srw4JmIoLwJYN22TEprELxIUA0lVz0DUV/irJ8fIer5otR9SoWTOPOqhF4vqd8TL1AFqXR8ILgOvm9B9srzUHZKxJrc26A8uUr5wBxBmsUzRSyh3dM3aGfk23Bug/KDD7zG3GtYIG2N6LxclWrMoqJW6AFWQ7WQleJ4mPX+kM5hM+xZIA5jbX5stjKylVccrEuvlZFAUHeCxyMjM4zo5Y9Tp3OVf2yrABUhdkKqR0eX+vLq+Q1RyVul70MBHDtHLRGqdI6C/ryquceqZ5DX50eIcc9YE5EGFtA66+W1KmoohHvTHl3QXrfjDopOiViTe+kiXqaVvbN4pogF2sKVCU3283jlBa3C9kjsdatVd4PXOsnPNeaHTLNEik6peGb94lWgN91soSwFsW0lj6pXaPmVnW0Wu9pvPVjAcM1DhG4fXNWRZisjbVuc0GVCjNoi3U7xUcV4fPLkMEj4RkeuPkPHzi3dteFV1Q+pfnTLkh1WpK/banlE0wkBk1cBZVMA69rqhnMUFcLK+vkRkqlIA4tRnTl5LXRUwr019hoLCe4GAdztzxSxADdHl/LOSgpa3SOEEG/RqYmqRUOLXPEwDVGmWx4loeMJPox9f2XYyAfeezD/O3p9DydQ72ko7myKTZutjHRFK68wFaSVEbsek3Dnv3308ZHHp07XHo+MgD47CSHk8cjIXUXh2x7/MzKSmzfbH3/27RFN7+0ma0u3mjMnpFpLlIdeXzZP2SYdEcDlZsN0bhTA2QrRPD4/QrITSyqVgjXn7Kwg5bTr6VIR21XPFLFAgnf3XvQ6tj2Ss0tI2DopsWXSc921KYU/C4Wquw+p1BxUdAZ5g9Pq+/tssvQOMtKY2wZBayQtTzAK38MNXMxGw451ikUJwqCttTLS7eXLC4MO9ijNLQ76+XLvh/J4ZGSGFqeQXF0T8XswRnJTSd9WDq/VkGpga6Oo8I16k9OgWwVo1vPbspX1PvI+r+zsu01oQe/h9apNe715OJ9uvNfkmSIWkLU5Wq06E7ww6dXawCVCBB5kwbU6BMLUzBMc5gdzKkSzVArOWKzlUodCn7tdAIco5gS/6tbevog9VDyw7L1Qj2u97D3nVYJur8GgldFPU2tHTW2xlaWZ8xHmKdenPI+dX4XlU6fG/AJVat7Z4D5D8euP5eEzuSkoODq+tKnjbWXt2AqpJiTICZZ4lf11p+fxZdERIbaq+GYtoGyJMBNbWe8j7/PKzr5XxVIW683D+XTjvSZzIhbQKXy1WnU3CAF4f5nrTTAtWEV7byHVmyvHByZpjzDUk2xCrwhgQkJv8PzXrW8Wfmw9WNikx94388utb+b/3PrLQu6qwSLZYOIplXlv62XvDSQs2LCVkYXiWvGiWiE8D7lM0MtYOXmy/39GRlYShempU8JUj6Sc3+WTpyf/9tHHRx6PnF7vtnxgWzm8NkOq22sbXerzvdRLd31BvDQzeu7RpO0CVxB0RIhy252cCihbIkzHlu5Iex8qZP38COkOsaQ7Or3ebjzbbn+miAW0+v8GbY8I8UUwxAtsuk4b4dD04PUFFs7doXZHvSSAEQSKavixoJ0R1+OqGhZs0haJFaOqtngimjmn5yqCPgk23FlcrXkk5tkkhJDlk6cnk+5rXzd8pg/sBU4Q251GN4eXFaL6PX0758ntBKXp5oRqxWEUwCiAUQBnL4B16IazzepeFMA5YrU2cElJ/PrVnmNfKlerzkQ8TxgugCvHByYrg+5KOGYL7sys67YLgswWnJpNARx6dSvHByZja3GcPmgVaZugAEYOIzr5t/WyV+PYoTyuqxu6YcHarYzKXqzegYotmVivl72zpnm+ISsnT/ab5Oj6hbJgYvbxqdO3TMR2Fmi3IeK3RbISUt2NlMqNL3WFLwpgFMAogFEA99q9KIAzxKu692gPLiGwPF5efjBrhxCxR1m0nsqgMyzJub0bCuFIoaqCO1MZdIZt5QfTgpea4y4twtMGBTByGNEtQMXJu73XmPJ2TcKCCTFrx8S2H1Ip0mXq1VVFFv5Mj7999PERpXsZMQtukXTqdOrFm6Do5vCOj38bqTUxPv7tsKYXGFyJO09cLDdO6IQ6owBGAYwCGAVwr9+LAjhDKAEbKbiiFQpdjff79WrOWWgOcOX4wJOggigAACAASURBVKSCSG2LUdZrO1twZxJFNHyOddbT3Inc3xAUwMhhRLnVD+XlTWtN2v13mfBsFXGf1l5EBDm6MC/wqdMRjztMPB94jmUh0+HIU1skQgjJui1SFrm9ulwsN04Up5vf5124ZT2/qa28nKMJWT8/Qg6XWEIBnJ97UQBnSFI4s7CfL8wjvByIXw9SBbpScMbUBaoTC3sMmXXdI7MF967tMOlQfKf1PGjSEMC/TJYmts4Xa88miw3WztZkcWdrsvj9L5OlL7fOF4+lscZnF0rvPZssfkXPv3W+9PrZ+eLKL5OlCdvnYfsMsz4/fw0XTzw7X1zZOl96Hf7b1mRxJ9lGkds/c2uy+H3SfVuTxe+hZ2MT3T68zdJq4u+QLrqtjNhQaKgHOKkCdJqAw5NHom2RQO2PTo3sLw+f6QPOsQlpu9RpbOXw2gypzhvFmeaxNIQvCuB8n6MJWT8/Qg6XWEIBnJ97UQBniCicebXqTBASenDFubzKY9GNFayZdd1+LSEKyMuddd1+mwWzKgV3v1Nh0DbFmy/KSq+hNkPxIxNyKmv8ZbI0Ib32fFH4BS9LAZyH8wvXwfv3Z+eLKzp75Al5evwyWfpSdjZpoNPPt1H23jWmvF0bc3NbGZW9mq4IDkKxwaLepI2RKeDwZKpSs7UWSKdG9pdPnm5H9Phe6ZG7eRLDWbVFGh1f2uS1RMoTpenmhIoYKZabjayFW9bzp2lLFRTA+RZLdk4bBXCe70U6QFvgcjy0vFBlb9G5HXiIDQWwc5tdi1a4sqIXtlJwxizlB3esGqct8Sbz8iWKuPOl10meWagdkPiViOCsBHAezo8QQp6dL16CCmPuuFB6T3X+rAQwITptg9reU63CUPWydzZapCoeUq27JsX13zY+PAOg4cmPR/z2RuF95uI3mu/7eGRkhhLjwlZAncZmDi8kpHp0fGl/9NyjWHHGvFEqNd5TFb+EZC9As54/TVuqoAA+HGIJBXB+70VSZq3mHm0Xrqq69yACOMSrOsu64pdnT6efb6XgalfEnC24Mwbit6NfwmyIN5mHDy5gL54wWaON+bIQwLk5vwul95LW/cvkxRNpnOnWZOmTpN+vNBG1MgKEHMeiTJLwc475Ob5sAS2Tglh5Dn1meQzt10sVtwKFQQvyfOmiWoE3eTNJbGeNbg4v68EFhFTnpgiYjFK58aWCEGmnb2QtQLOeP01bqpjO3a3Pj5DuE0tZCrRuOJ9uvNf0uSAAYl5fgWc39BKzQHv9AkKfj2ThhfXzgzXaKHW4FZKpePNzVe0I0q3J4o7JGtVH8Ssb52Fyhnk6P9FaVGzxvLk6orlT/DS1dtTACwwSkvKwZo4XeMrzekn8Bjm5kZd7Sm2RAs+tUhGtwKv7+OTJdoXk5eEzfYnFtHLUFunjz749YiuHlxtSPf5opZsKXhFCiEreb3G62a4DkrUAzXr+rPaSxj669fkRcrjEkqnQ6obz6cZ7TZ8LIoFXlVk06GrOPGS9finx+3xtcWCQvT+pSJXf+5cjUiVeWD/U2anNFtzNSsHdrwy6K3cGnVsVx4l9mYi0UZKKbnHBrbQwEW8ij6GZiIt7A9MSwLziS50UwN1yflFbyd7qrfPFyO/w1vniMekcnLDpTlKf8u7pCsp/F9dinzmU3dtQcc1ro6TbGzhB/Frp56vC8snTk9F832h/X1lvX3qEHtzHIyMz0HvouaCCO1de4HOPbmlVcj63NEbb+fSzv/bTeb5s26RuoTTdfA0VIRfLjRPUfSiAM9hLGvvo1udHyOESS6ZCqxvOpxvvNX0uiASVglYiDzDLam3gktDuolg4CnN/KZHLemsrg07sywG44nPB3awUnDH2fml+cMFdZ+/pBEYCmJMvGhvni5cIgXs6dTyI7L2gdU2W3vGqFndUAOfs/CDrlq2DfakACZvm/W51Gv28W35bJPWWRnE7/y6uDVrJB7bQp1iVQGzGQoxZD6uKR5duV6Tb4xfYhzg3ucCE2GyLtFRjK0V3G90kQEulxnuE+BWrUQDb2wcK4O4QS6ZCqxvOpxvvNX0uSALeonNbMWz5udzqAWuLA4O+GHbveTUn8UtdYuVnjuCcdd3+O4NO5AtTxXH6tCo8F9xNrpDm9A+uDLqZtZ0wFMDgqsAgT6Av+GJnAV0jXQ1ZW5R2VgDn6vxAe5WIdrptEiFyAcxenxXNqdVLugKzObUaa7mm41XmeZNNRHC97L3ptNf3bx99fEQuMkcihZpUPLphpWaVitB07i/UC0zfkzWj5x5NahbE6mqxyyNLAaNaTToMwS5ON79CAWxvH4B7uH9TUAD3kADeXvgtD+fTjfeiAE4RrSrOi+4bqCdYBVkxKlbsRu611eNXENY867r9wcj0i5aJAIZULladK/Ow5A7Olbfzg6wBIsTp62WVubPqAcxD3Wt74GHl2lMMYa6XPe5nRSCCwe2NshC+hKh5c5eHz0TSRRTaIrU9m4+BRbRoz7F/n7yQVp5aIhGi3xbp48++zY2Qt0GmAjjFvsOdEI6MLXAouclZcs9R8UWC6jkUp5vcvymHWQDXX8y/7bgA3p7fTU0Av1jYzsvZHqZnikjwFp2aSQVnWU6wCpBqzJVBd4X21FoTvvQcBXeflx+cB0wEcBpC8TAJ4Lydn61100WtpK2TEnoyd5p62TtrM79W3avMD6eO2EsQ1fUpz+N5ozsJMMQ4JkrVevz6ecQqRbRoQQsR6nkTwHQOLzQEms0D7gWyFDCKFahzLYBVxbyNZ2Bjbsj8KIC5926nLJZ4glRrTkIIae4snEEBnL9nigR4NecsG4IcenHXau5R5QrOwJxeFVTaEVUK7r6VHr5Jo8MVniHkUADHKhnnTZTmXABrnx903TLPNd2TWCaAs+wBzMOkLdJPU2uxl3eqXmXIGv9dXBtsllYn6lPevebU6qVO5/eGBAJ0nQ5pXh4+0wf2Ap86FRFoUPGs2RYpkhMruy9PIdAhfg6v3Ovbi6HPIVkKGJ1c3twK4HJzJe2zFAnRYrlZ054b0Ae6WG5yvz92mwBu7iycObhv/oKhWPpB9V6VOevb8z/H5tye/w58/4v5O/S99RfzdxLv2Z7/zuRse+Tejj9TJIAqSOWt1dyjYeXn1aq7EQpj/9/gBbFibZMWndsma6wcH5hMVdBqeIKtHL5F8iaAu0GU5lkAm+wJbq/4FVTUdpsAtt0WSdWrnMWeVfE9qFEBSXtMdUWpUlukQHT/7aOPj8DDpw8qUCfOlaNWSDTStkjjS7VeC3lmUREhxZnmMZ37kgRMp8KgTfcuE8DK3myNgl7FcpMb3VOcbl5S3Eu7s0FpuvkJ4HpuOl23CWBa5KmIHYFYWlK4f0ljziV2zvqL+Tn4Xhd+q2/Pf05I4P2VhE+zgln1bHvk3o4/U4QQ4lXde3HRyghdSrx6VfeeVm5wUCRLVuxKhHYP4DRF8PGB3LTYIKRzAlil5Y+NNfbKXJ08v2eTflGqXyZLXyb15lXJ65V7i7PrASzCpC0Szxur4lXOYr8qPB4ZmeEJzlierYYoDexDxXM7jxhcROvUyD51T8I80SJdeWLs3NIMp5/v+qef/TV30UVpoCSAp5tfEaIluKzmz5ammxNZCGC6DRSLqje7XdBLzXvLFaLKc5ebjbYAB+QP2/jdSU0AK+TFmgx2XkBIsfaov5h/K9xvGnNyCmCpztUL92b1TA89IDHLEa1e1VnWDosOPM2qa7Wdz2s8Muj1m0SnBLA0F7SLRGkWArgT58cLn+Y+d6kYP2gv1Y0CmBD9Hrz1sherav/v4togNIw6i71CCHJ0422NBCHNyydPT0JFKR1urOLRjbRFkqyN9TxD15NHwrZIo+NL+72Y55uEagEl3SFdB8ATXJxu7oQi1Mb8qt7nYrlZo73gHHs7KZ5hYnX/tOYWhT+bPgNrAlghb9NkCOZW8iLDxdKCsI5HfXv+5xTE2Zxgf10nYrvxmR5qYCLW2RV5bdcWBwaN8oOrrnJ109mCu25fyLqbdwadW3cGnVsqucNZtjziYSKAIfwyWZrYmizuQOfpBlFqa668nR+duytj63zpNWQNMgGscyadwKQtUn3Ku83agwnq5CJYnabdcggqZmN5tlBRqt8W6fHJk8PhWhUEMEjE55XRc0tjvZznm4Rq7mpaApgQQi6WGyeK5WaNFeWBUI18lmYhgAGiDhJOrDfKjcTUlpKGVxw0Ak+xYM48CGCVsFWrApgQtcrBoLE9z+2AcLBftdxlwBAWZupGEduNz/TQsrY4MGjLa7tadSZ084N1WibZEsGVQXeFV8xq1nX7If2CD4MAfnah9N4vk6UvVYVbHkRpHgRwVuen4o2VCduwJ7NsD9D5skC3LVK97L1he/pCbInaIGVBWJU5FMHW82yZwVZdVvDoUm2R4OHT3Sp+Dzs64cxpCWAVLAlg5X7CMruqBakgo1huNnjr58xt15svF92ZC2BC9ASL6j2iuRsv5i/YEky+nfkLsueslAssmS9pnm4Usd36TA8lWp5bP1xa6LVVzQ9erbraXhKVqtBQ4csiK7zVywL4l8mLJ7bOF2s6oi0vojRLAZyn85OvNTkke2uy9IlsbmjIdVZAQ5dFIjjMB4Z6k3lVpLOAaRO0SYiSFzhSQRlc2Xnk9Dq9hscnTw7DxeuB6H4M7A0cGadG9vPW9ggRU5pWy8HVEXkprNl4fkgFZB27NoUoVPwS0s4FVs2nFj7jNJ+BZQGsJgi353dNq0DTNF7MX2hsL/xmJJa2F35TEUrGIjg4g+R9dZ+I7eZneuhYrQ1c0i5mVXV2V2sD3B6VazX3KDQ/eG1xYJBnA0rFcfognloq1PkuK3wrg+5KpeDuVwoO12OQmHdccHMVumZDHG2dLx6TeQRRAIvPMI/nJ2NrsvRJkq2wurNEAHPbZOSJetmr6YpgtZF9+HMoXFlP6vLJ05P+vwPF5anTNdqmrgdWpS2Spuh+9/jU6VudOl/EDiWF8NnidHMnuMdcgBrcb0tEquxdRZjZ8C6riN/2vDPNY6b5wBDxq/oM0hTAhBBS357/HCRYopWgrYil9hpeLKxoiSZOCyLQfNvznzcUc6DrL+bfQvNRu1HEdvszPZR43CrQcA+uSMR6NedsspfZibUZ0WXWdftnC06N66X1ewLfnXXdWDGUyqAzzAjadVYg3xl0bgk9wI7TZ2sPNjAVR9DiTLKc0byI0k4L4LyeH4Tk9RZr0Gvyjm5bJJWRpfe33c83EK6x8OOgLZBuSLNKlWZ6XSo9hdk8YknRrs3HIyMzeS92hYgp+fmrid7DYrnZCItAWRLAYG8lXXzqYrlxQknQCfrnquxdR5hdLDdOaOYZv5aFH8sI2jKpefZ94fyJ3Hr73HIjgEMafk7wdiSEdXt+t7E9/x3dBzi41qpYCqm/mL8T9Ozd5oqn7fnd+vb8z6LiU6r4IbsLK/58nKrYmvN1o4jtlWd66NDu7wsQs1xP86KbWoXUWdftp0fitYKCV5VBd6Uy6AxXBp3hSsHdFxXOSmsPupiJt4snYPf7VYG7QZR2cq48nx+EpPzercni97L95a0HsIhmaXUiTfHbnFrlRsakDa+fr9hj6wvMx6dO17RCmjvQFokXxrw8fKbPF8MjMysnT/aj6O0titPNS4Foe00Jo+/Dtj0hNgSMijike+CqFu5S8GhOFMvNlWC/IC8qyG6p8V5xunmpWG7WBHt+Hcz5lYoAVdhTjX2mNubNowBGEKTL8GrOWf1QaHl+cOghjniaqb7CWWGSQ5zH8GdCDNsgnS+uQMWbyVy9KoDzfH4QZOuXCvzzxUyEnw5phUJnJX5F/XyTBOfy8Jk+pZDmIHSakIOiWpDBilSdtkgIYhsbYcKQkdS/F0EQBMkBB3m7zrK36Ny2kR8cVpperbobXs05u1Zzj3qL+eidK/TsAtsmZb1+HibiCFKlOCyGZDJXrwrgPJ8fhGfni5dka5cJZNU5s6Re9p53u/iF9POVCUzdkObHGjnESvONdEcl56ADwnJSuk/Wa8wKyPeFrNamGsqsM2Thzwhy88Or72Qj6zVmDZ4R0hHYfF5v0akZhEXvxkKrcyJ+EwtbgapIO8NZ74GHiTjqRVGat7my2hMEgIdX6iFWnTNrrIjgKW+XbZPUCdQqKwtG0HcXHNJMFZnqSFskRnTnDWgnhazXmRV5PxsbvXgTxuss94Z0Byju5OAZIZmxVnOParVM4g9hC6VOMeu6/Yahz3fls2QDCuB8z5XVnqAk2ZMV7tKZLw/oiuB62XtTn/Iy/TzT9f5SY50Q/ZBmhZzeSMSMiXjOC55C8cis15oVeT8bm617YvmtVOEsBBFxmMSd7l4P0xkhOcWrOWfNimU5u1nvgZCwYjS/+BVA/K7LZ8gOFMD5niurPUF5NllsQO33igAmRC0nOOgJnItIFhUhKQtNhrYbonNz//bRx0eg3mM6hxg036nTtTwXufIW3ecogJPphrOxLYKL083vS6XGezprSfruYXvfSD44TOIOBXD63By6MnNj6OpmcC77N4eu5K5WUVfjVd17OvnBq1VnIuu108wW3BmlPOCci194FWIUwCiA+WydL9b0BHBRuWdk3vhpau1ofcpbbkx5u1zhO+V5WRW5SkKhkjM1RmJRLJ1ui5RQgGs9r15fGpW/fVmvNSu66WxK5caXJj1sg3Bqo+84KIAPH4dJ3KEATo8vhi4P3/zw6j73fIau5DZqtWs5KJoFEb/uRtbrFQESwjms+Eyzdb54TMV7x7MBuvdC6T2l67tAlHZ0rozOD8ovk6UJHQG8NVnsuWIv9bJ3tl72zmaR36uCSiVnnhCl0Q1pfgzO6T3IISaEkMenTt+i19UNRa9CEv/m1ZyzWa8vD3STAA65WG6cCMTw98VysyEQuztUC58JXY8vCwrgw8dhEneHaa+dJBC/ief6xYk/TsotIUqsLQ4MSvODF903azX3aNZrlVEpOGOzBafWFsMFd/3OoHNr1nVzG4an563TF8Bhr1cVoaS7ZtN7CCFElrfaHkELH1klZNN9ZXV+UPwXKTq/U8WvdOZD7KBSWTmpvZBKSDPd41clh3h5+ExfZO2nRvZZYdwN2BJ1a4sDg96iU1utuhuxyCo/zNoLuyrokJb9IBLsOf13nrXVjQI4S3pBAENEzhd/mOkjhJCbH10+cnPoyl0qZPPdzQ+vrieFbaqIqND+zQ+vJhbTu/nB5f4bQ1du3Ri6usLaujF0dfPG0JXaFyf+OHnzo8tK3wVvDl2Zufnh1XXK3v6NoSu16x9ebb/oUxWFaV+vcT4rN4au3Lr5wWVp1E6WHmCbz1jpd/CDy/3h7yD0d1wV5ndMNPZVf38RIEErCG5+sMkfbyQZm946SBsfnaG7ZtN7gj19n8aeBHPl9vxU0FljKOyR7IAL19OJLdwM2iKBvMC90N9XNf2Ha6PmnFUqLukLTHDRtbTs+60Nk2uBhBFfKIDVOCwCmBBCvjjxx0nZF/ZQKGvZ/8NMHy06eGv94g8zfTxBlDiGrtyVCYnA7maSnRtDV1dU9qO6f93rI/d+cLkfKK7aexIJYaUzZkWkwR7SeMbQ9dwYunJL53dcxhdDlyNdaES2WeF9Y+hK171o7ipWawOXvEX3efg2GEPB0kVLAJ8vcgv4yNrcdKMAfjZZ/KpTAjjP56eCzksDur8xkg0qXlhZjq1CSHMtjfnzjqkAXq0NXFK1QXttZetLy/5azT0Krv8BLBJm+ix6icMigIMv5hAxEvNaQcXHTSYfkl3n9Q+vjumIsrZwYURIe30fXT7Czp0wQOJSZ/+617fv873XWudDe7iVfi8E69LdQ2rPGHI//PzArf5ufnT5SCjmw5Dm4Pct9ntFPce7OnMhSO7REVSifq0q4b/g0OKMBbBqSK/RvnJ8firovDToxh7AvcjjkdPrNrywKj2Gw7xdYP7wZth7uJsxEcB+tJSmOAWI1DTte4tOzdi2ogCuHB+YrAy6K5E6HQV3009XchJzxiGCsuI4fWHqk8p9Kte15yo4Y5VBdyW6D/dumGalK4DD9C22u0Vl0F0J0rg69sLJQHBwB+u1AoqPmMCO2PA9m6Zr43rvAF4/bSEI3b/J9YSAvPPSwYpgk33r7CHNZ2z7+ULyc9mIhpuBmOXtsy2OeSIcw6CRXkHZUyfw/oZAw3i3JkufdIMAJkTNM2uSm5vn81NBpxCW7lyIXZTaIkmEKLQtEjRcms4Z7nZMRJ5ZK0FapDrcz/I07SuFVBsK4MqgMwzq0lBw1yuOww0jlAnKSsEZ44nMNATwbMG9m3Q9uxaQoB50hqEtHSuDbkdSD2yLgzBUWNF+zANL25CFJyuMWGcQ5XBbRXGX+vV8j6KWeDT9vdDdQ9rP2PbzZX/HefBzl6/cCoRx1OZB3nFsLp2QawTJJWpCRV6oaOt88ZhcxPl2ukUAEwIL6/1lsjRhOldez08FlXZazyZL77Ymizu6cyH20a3kzLI8fKZPR+zGhfPI3Tz389VBV+SBvLOLzm1CCPEWnduq4jFt+6DwZwX7IgEsE4Nx8eju80Rw4j2O08cKbMh9UPuR/RwfmFTZD0QAVwadYVUblYK7n3ZRT8gX/tBDBQxRNRZStEBSqZgL8YRyPJ3S8GcV+6y4S/t6yJqg61ct9iVal/Ie0n/G4N9x4DOWtlgV3LfP+1m4Xs7vIoZAdytu4fo70ch6bVmRKEzOl177wq/41db54jEVu79MliaenS+uREJ1zxdX6FDXbhLAoj1tTRZ3ts4Xa2F7ItNeynk9Pyj+/tVCoGVRBUhnUankvHzydGLoVaRNkUJ+7+NTI/v/MzKy0u25vknoiDtI60CVOdgCk+nbV9uzzhnNuu4RLZFYcGMvdGQeUZHItC6AOXMZC2CId1ywb9aWTfIg6JJsQEKUVea7MXSlprq+PF8P8WCD7TP9Z1XXor+H7J8xHWqsu++kOW8MXand/OjyEW6od1Bhmg2B5uVmI10CCmAEsY+K2OUNzP/NH7qVnLm24NWl215lttVRL6Ij7iAhxGpzOMudtN8JAXxn0Lkl9mD6Ob8ijyqbE6wrMq0L4ASxWhl0hpP2xLWXcK3sjGYH3Xdp5gTnQdAl2bAq8Pyxrrq+nF8vLcwFta8Tvm7jd6rbn7HgDOhqzm1BzvUwUy2W/BZPVzfpgl43P7jc/8XQ5eGDNmRYHTr3oABGEPuYiF9RSy0kex5DKzmPjNxNtKNQEKsXClxB0fMA2xWQYbuhbrXPO6Mkbyl9ncALfFd6TQYC2Pp1BadmYu/OoJPaF948CLokG5Dc0Lztp4uvVw5ft/E71e3PmHsGVE7vjaGrm0Ff4xrXHiWA2Zxf6p79m5SoxtzgnIMCGEHsoy1+z5deq4bWI51DpS2RzGMLySsOq0EfFvIggL1F901X2+cJ4ARvKX0d35saDe/tXQEsLnwFsZdmGHQexESSjTys7zBdb2I7L3vo9PXcM1ApTiboxRyshevhhxTiQjIEBTCC2EfX84viN/9AKznL2iIRkpgPvNnLub4iciGAe+x6QszEIt3KSGarqwWw4XXsOdkkD2Ii/ELP6+Oah/UdputNbOdlD52+XgSwxRa3oNYXf5jpk4WGi/oeIzkABTCC2AcmeouNsKAa5vx2D0qVnAHhy769kRnfIzwyc5hCnlnSEsCqI2/2Tc/IVNxBbR1mAcxeZ5M8iAm2aFHe1tdL16ugaztve87yTG8m52hzxa+oJRL0fiQHyATw+8dvHHOPX7vnFq7ttH92/Nq994/f4HqqoIJaVXg7hf8ecQrX/ze8xilc/9eAe/1P77//+X/o2KPtusev3XMK1/9F3+Mcv1Zzjl+/ItongiCHF1ttkZAoKIB7QAAX3Lu8glB5F6yqwv6wCeAkT1Ye1tdL16ugaztve876TFlP7o2hq5u8Cs9BFWhpW66bH16N5A0jOSRJODrHr19J+vmAe/1PKvZ0riOEkAH3+p8S11n47xFVAdxfuP4BK3rF53BN+OYTQZDDCbyS8wj+EQSCAjhbAQxBIn6Fv+t5FLbgfaEAjrSgyeP6eul6FXRt523PeTjTL/4w03f9w6tjvHxfv0CWvBBYONj83yDUGr3BeQIiAGXiE2pP57r3j984ZrpGds/9hesfqNu5thN6mxEkL5TKjS+L083vS9PNd+EolpuN4nTzq1Kp8V7W6+tlVNoi/e2jj4VfHpEDUAB3twCuOI6w8FsehS30OhTAyWIib+vr9utV0LWdtz3n6Uwj83x0+QikBdTND32vcSiSbwxdXQlfGt2kQqyxb3COMBbAjHfUtgCWeX91BHAknNtgrwiSFcWZ5rHSdPM1LXw543VpujmR9VoJIYS3vqzXRIj5umy1RUJ8UAB3twC2cV8er0MBjAI4y/O1efZ53XOezrQ9hx/uLJ3n5odX97848cdJQgj5YujycOhFvvnh1fXrH14d+2Lo8jB9rem6EEske3ev/RchhDiFa/8lvub6v6D2dK6j83456/t//jXwEOjkvfje7KRrVHKCX1afvXpZffYuYbxSe1rS+WJz2LTf7fTK+ZRKjfcA4rc9LpYbJzJfc48K4JWTJ/uhBbHQCywnLQHc6TWlaR8FcLbXZUHexUTe1tft16ugaztve87TmRISzwkWjRtDV25F1vXR5SNML+H9mD3MDc4HtgVr7q87fu2eiT3n+PUr0LOViF/rAqxXBJ4OkL33yvkUy80aVPwGIdGZRy70qgAmBNAW6dTpGopfGCiAsxXAaQrFvAtbFMD6YiJv6+v16208u6z3kPXvbBJf/GGmT2abDnFur0lUIGvoygxrU3dtiEVyL1jte5SFha8g9qBh0C8XtvohAvjlwpa1Xp+9IvB0OGQCuMERbp8QQsjFcuMERwA3eHYulhsniuXmCu1NLk43d4rlZo2XPywSi6Xp5if0morTze9przNEpHPWVcvbukT87aOPjwjE7/ph7OVrQicEE4x9GAAAEUJJREFU8GG7nhAUwN0ulPMuJvK2vl6/3sazy3oPWf/OJpEkgG8MXd1kK6Jf//DqmLRA1keXj9wcunL3xtDVFV6RLSQD8i5Y83fdtR3Iub6q/jIBEcCvqr9MQOxB6BWBp8Nh2rtMqEGEXGm6OQEQgBMyuxI7nyTcx11fqdz4Mo/rkvH41OlbdNGr5VOnsNCFBiiAUQD3ynU2ybuYyNv6ev16G88u6z1k/TsrgyNo99nQ5aAyNDRUuha1j1WhMyd/ArO7rhPxcnHra1aQ7VS39mNCbXHra/beneqzyzuLzzaZ+x4Skiz0ZCJQ9POd6rPLdL7yzuKzTVqYv1zc+j0pdzmW67y49Tv98+BlwHe0nWBP3yV5wF9Wnz1kbe8sPttkzwwaaq5zdrKzMX1mOpgKYJ6XWDRUPab0KE43v4fep7ou2hOc9rqgPD41sv/41Olb6k8UCUEBnD8BXCm4+zq2bK6hG6+zSd7FRN7W1+vX23h2We8h699ZGdc/vDpG22K9vjeHrtyFrOHmh1cjOb+B3XaYNFaFzpC8C8xOXgcdkHMNxBsrfLj/Rt8n8Ry/ShJTOgL45eKzP4vm26k+u0wIIbSwg9jdWXy2KTmH2Boi9ha2+jmiO3YWifuyIIAhZ2P6zHQwFcC8HOLiTPNYUFk6+u/l5kqS3dAbKxCvr6FrCta1whO6gnXVOrUupHNoCeBF902qgjNt+50QwAV3XVsAD7orsmt6QgAX3E0UwHpiwvZ8N4aubqZpv9PXQ/rHKthfN1lLXs6o089Yh5tU+6JQxArzfLl7vFJrt0IKqkJzrsOq0FmRRyGa1XU2BbBINCaJxeDnP0IEnTUBnDDCte1Uny0rCeDqs2VC4GHgL6vPIrnQL6vPvgPe9x10X7Lz0T0b02emgwUBHMshTrgXLBaTfg4SwNPNHej9dF5z2utCOoeOuFutuhtWBeSi+6aT9jsjgJ2aTLTNuu4R7jUFN9LCq3cFsPyMkuyxLwpskrVYkYkJSBioynw3hq6uqFzf6f2rXm/zfEzPJg97yOIZ6xCI1nc3hq7c+mLo8jDkRUYw1sM8X05V6PjAqtDZkEchmtV1VgUwE+68U93aT/r3EJ7nM/Q2igRl+14dARx4X7m2g1BmXjh3GAYsuO/rYL64MFzY6n9Z++WsSMzyzoiej70XunfZNbpnY/rMdDAVbbqCMG2hmdd1IZ1DywNcdZah96zV3KOya1er7kZn7acvgCvHByZFwu3OoHMr8RrXjaSp6ArgSsHdF4rHgjPmX+OMQe2D7CXsO25PPHdob7bgzsjOMQ1AX7qpirSdFhPSL/jK4ohpLZPyftK+Psj3BD0/WQVi07Mx2ENXP2Ndrn9w+QQ0z/cm1Q+YEKLSRxi/d2RBHoVoVtfZFMAij6FqOLHKz03uTfo5T8S1w6P9HFmuWOUJ2YS5XumsE3pPmmdneu6qHCYBnDQ6tS6kc+h5gJ0JudfVuU0IId6iU4Ne2yn7kBBryv5tnTMiJFkwqng1tT3ACR5W6IjsZ9BdsWnPX6M4DDrxnJg8adtAvkCHX7zZ3EXBsBJGG/LFiT9OQtcHupbNtwSEnKrY54gpsH3g+UbsfzF0eVh6z9CVu4QAxDLbegewFl6eqfIe0n/Gqs+sI6Ly5keXj0DmogU9qCp0+z6sCp0ZeRSiebjOBIGH8yEhgpzY2i9n2/fmUAALfibcj+laeT8TnRF0b2meHQpg83tF16AAPlzoijuv6uxC7pULzWh4cifsQ0KsVQdvDzLvKk/UzbpurH+1vgdYPr9MpJvsB7LeiuP06b0ocIZZWzaBfJFWGbbCaFNaY6wyroIHDjw6aT84H1DeaOIIRDKzdmhYbmRdmntI7Rmrrkdn/bokvZSg+wGrVYW+uokFsDIm70K0GwWwrseUkBwLYCbMN8zzjeUH06HBPCGbMML7BNWyf09qGYUC2M7PUQCjAM4SXXG3tjgwaEM4rlYd7mdMmvZBXmMLApgQXzSCBF7B3aw4Th/Phq4AJoSQ2YJ7N1kAw0OgZfYqBXdf1R4hvgiGeoIrBXc/bfFLiH0BTIdpQu1L16gQ7pm4tj/MxH7vQCHEioO2D/Ua69onBOgFTh7cKANV8W7yzNN8xqrrsfE7q8JN5gXGjaGrm7TnVrcqNCHYEikz8i5E834dj5cJXt4k73Bwby4FMBu6LQrpZopDaQngl8lFsL4jHFAA2/l53gRw2uehOmfr6dw73tjbmNulr9vbmNsVXQvZU9ZktW4TcbdaG7gECicWidPawKWktaVpH2x30X1uckaE+MWuKscHJtkQYl/MuSthvqvwfgMBTEggwqm5KwV3f7bg3p113SMVx+lTFqyMvdmCu3ln0LkVeq+1PdaDzvBswb3LVtBun9Pxgcmk+20C+VINDc3lCSlbYgKSJ5q0riSPGCtAEgav0q5c3IEr+8IEJ3cPKiKJORueaCREXVibPvO0nrHqemz9zkKh/vuK9APWrQpN2cSWSFmRd4GZ9+t46FZN5v0sNwKY2ZNQAEv2AhHAhPALS7XH4tbvdBsiyN7SPDsUwOb35nldNCJRywpE6HV5pRsFMCF+ESr1kGJn16s5Z5Pspm3f9zBLw6w9G2eEdB/QL/vsF2qokLIpJlQEwYEwuLoiEnghX/xhpk8W7ntj6EpNdz9B8anEdYeh4ybnBXhGymej4iFvPyeDPaTxjFXXY/N3Fgqd56tbFZoQbImUG/IuMPN+HQ9OoatX9M9fMr1hZV5T5t5MBDCvEjT3nqACNGQ+jXOMDJXQ8TTPDgWw+b15XhdNkrD99en9C4QQ8uvT+xdQAOthS9yt1dyj3qJz2xercWEZ/PuyKOQ5K/te1b0X9fI6u17VWaYFNArgw4eSsPno8pGbQ1fuMl/O15NaraQhJq5/eHUsWAfPY7p/Y+jqyo2hK7dk4i62Vl98tcXDjaGrmzeHrtyNCAxzcbceXeuVWuidk1Vphp5XeD48IRSejUpxpJsfXO4X2bMtgNk92HjG3SCACWm/iAFXhaa9utgSKWfkXWA6hev/K7rOKVz7L/+aa/+lYO9f6XuAOTmsCYNuhZRXAczLa+bdAxWlUFH4cnHr6wRv8I8q9npIAL9WEXx0z1zez/MiNPO6LpokYdt6OjdHCCF7T+fuoABGEMQWWX3ZRxAkik5VaEKwJVIuybsAHnCv/ynpWsiIzHv82j2T9TnHr9VkZ6oifvMkxDR+LqwAbbrWiJ2FrX6RN1jFXl7PXZXidPN7jnD7JPjZJY4AjlT8TBLQsXunmzuin9kWmsXp5k4e10WTJGz3nt5fIYSQvaf3V1QFcOvp3Oetp3M/723c/+0gr/j+29bTuZ9DYS1bRzj33sb9t+z1vz69f6G1MfcDY/+31sbcD62fvj6jaP836t9/Dj3fCIKkA35pRpD8AK0KTQi2RMo19oXttR2xx/a/RwghxCn89wjU3vvHbxyzKYCT5j5Y37X/JxbA168knSfPUwoZoec08WeLz/6cqQCOe2KjApiqAC2zB/2ZDXs27le9F/rMdChON7/iCbeEMcHcHxPQxZnmseJM8xhHPLdf+NgWmsWZ5rHIusrNFd41F8uNE1muiyZRAG/c3w6u+VlFAO89vf+dxLP8rrUx94NsHbTwZuwnCnLae51oPyp8mbnn7ojODEEQM1AAI0i+uCmrCo0tkfKPdQGc4GHVEayEJAvSUJSq2ROHQSePazusLRZemyPICIs6vaw++1H13nDutAWwLCeXzmX2zyIeCi6aSxQGDl1fxgJY+5npUCo13oOKXzb8mRBCStPNCej9F8uNE9R92kKT591lr+MJXeEoNd7r1LpoJAL4N0IISRKKrDhtPZ2bA4jTcCwlrSPwGEfmkIVjM+NzyD6TxD+CIPZBAYwg+YKuCh1rK2bQEgnpILYFsMy7GwpJFcFKSOAJPn7t3sG913bc49fuvX/8xjGV9RFCyMDA5/8pWwNv9BeufyA7z5eMV5QVhSEcMfmQkGQPsii3mJo7XQHMqW7NiPhlxl5cGNZ+OSvY43cH8xzsM/SkCu55lbT2sPUUZH8mZ2PyzHQJRGwslFkmfkOK5WYNIDQnmDn1Pa3lxpcQoQkU5x1fV4hMCEKvCdnbuL9N/ywMJ249nVtKEpnQOVj7tNCNiWPKy5zkJRaJav5vGoIgCIL0HoI8X62WSEgG2BbAhMjzdlVCoG3vo73Ggc//E+4JvrYDEb+ExHvYKgjgtgAMegX/GIYcByLqYWA/MwHMqwQdGVQFaEIUw8EXtvqpdST1AeYKblnhsdTPTvOZmVAqNd4rTje/KpabjYjw9UOcJ6T3TzcngrDj19S9O8Vys0Z7fqnrtYUmIb7YZNfKva7UeK9YbtYY7+zrYrm5kuW6CJGHBtPhxiJPcJK9pJ+FHmbROgQC+C10DrqXseq6UQAjCIIghxGTlkhIhqQhgAnxPcHO8Ws1WkQOuNf/9P77n/+H74G1O69YbF//V9L++wvXPxhwr/8pXm362o5z/FotrDQNJdYXFyiARdexZCmAZYKWrgDdtinIgY0K52d/5uzzleS+V8z1sYJcnRTASaQlgJHOIwr/lf1vGwKY/jl/HXO7bEEq3flRACMIgiCIGJOWSAgiJclLC2qDdPzavU6uly0UBfYABwWkuAIuCOUV5BcnhgFH1mZB5MlEJvdMFrb6X1affRfx0vrn9CNPNFNn+TWvp/LLwLPKWdtDkXCW7c/kbEyeGdJdcD2uG3M/qPx7kr3w30W9hJPWwavGjAIYQRAEQeyj2xIJQUCYtkEaGPj8P7PegwovVQsqMWHHSOfBZ3Z4EIQcf67y70n2w3ZFAntggap6nep9KIARBEGQw45KSyQEUeL99z//D52CVWGucdbrV+Vl7ZeznHZD3MEWnUKyAZ/Z4SEtAdx6Ojcnqx6NAhhBEARB8oWsJRKCaPP+8RvH1FoXwYtW5ZGXC1v9O9Vny7y2QzuLzzZ3qs+W6aJRSPbgMzsciITu3sbcLv1vwf+XCuBfn96/IBC+3F7CSeuArld3nzbsIgiCIEgvkdQSCUGs4BT+e4RfsOr6O6dw/X/9n3Wf1xdBkO5ALICjBa+C/y8VwDzhTLVCSl0A69pHAYwgCIIgPpjniyAIgvQsIgHM8dj+DBHA7M/oQlYogBEEQRAEQRAEQZDMEHqAqf6/raftfsDKAlg2F+RnUBtJ86MARhAEQRAEQRAEOeR0mwBmQ6yT5tjbmNuF2kcBjCAIgiAIgiAI0uOIhN/e07k7UQE8dyfpepG98D6dPsDc9fJbKi0FNpYY0f4d1D4KYARBEARBEARBkB5HJPw43t7Pk64P4Xlok4ZsHZz1ilo0RYX3xv23kH2qzo8gCIIgCIIgCIJ0KSLhx3psIZWcCSGEDZ2mBOl20r0qAlQ0By1+Q88z1D4KYARBEARBEARBkB4HKkoh11PXzIWe4L2N+29bG3M/qMwFEaCBJ/jnvY37bynh+1trY+6H1k9fn1HZp878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CIIgSCb8f8/IaAZRnDwdAAAAAElFTkSuQmCC"/>
          <p:cNvSpPr>
            <a:spLocks noChangeAspect="1" noChangeArrowheads="1"/>
          </p:cNvSpPr>
          <p:nvPr/>
        </p:nvSpPr>
        <p:spPr bwMode="auto">
          <a:xfrm>
            <a:off x="981075" y="-58341"/>
            <a:ext cx="228600" cy="228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685800" fontAlgn="base">
              <a:spcBef>
                <a:spcPct val="0"/>
              </a:spcBef>
              <a:spcAft>
                <a:spcPct val="0"/>
              </a:spcAft>
              <a:buClrTx/>
              <a:buNone/>
            </a:pPr>
            <a:endParaRPr kumimoji="1" lang="en-US" altLang="en-US">
              <a:solidFill>
                <a:srgbClr val="FFFFFF"/>
              </a:solidFill>
              <a:ea typeface="MS PGothic" panose="020B0600070205080204" pitchFamily="34" charset="-128"/>
              <a:cs typeface="Arial" panose="020B0604020202020204" pitchFamily="34" charset="0"/>
            </a:endParaRPr>
          </a:p>
        </p:txBody>
      </p:sp>
      <p:sp>
        <p:nvSpPr>
          <p:cNvPr id="12303" name="TextBox 13"/>
          <p:cNvSpPr txBox="1">
            <a:spLocks noChangeArrowheads="1"/>
          </p:cNvSpPr>
          <p:nvPr/>
        </p:nvSpPr>
        <p:spPr bwMode="auto">
          <a:xfrm>
            <a:off x="6119813" y="1434704"/>
            <a:ext cx="19942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685800" fontAlgn="base">
              <a:spcBef>
                <a:spcPct val="0"/>
              </a:spcBef>
              <a:spcAft>
                <a:spcPct val="0"/>
              </a:spcAft>
              <a:buClrTx/>
              <a:buNone/>
            </a:pPr>
            <a:r>
              <a:rPr kumimoji="1" lang="en-US" altLang="en-US" sz="1200" i="1">
                <a:solidFill>
                  <a:srgbClr val="000000"/>
                </a:solidFill>
                <a:ea typeface="MS PGothic" panose="020B0600070205080204" pitchFamily="34" charset="-128"/>
                <a:cs typeface="Arial" panose="020B0604020202020204" pitchFamily="34" charset="0"/>
              </a:rPr>
              <a:t> A wealth of data is becoming available</a:t>
            </a:r>
          </a:p>
          <a:p>
            <a:pPr defTabSz="685800" fontAlgn="base">
              <a:spcBef>
                <a:spcPct val="0"/>
              </a:spcBef>
              <a:spcAft>
                <a:spcPct val="0"/>
              </a:spcAft>
              <a:buClrTx/>
              <a:buNone/>
            </a:pPr>
            <a:endParaRPr kumimoji="1" lang="en-US" altLang="en-US" sz="1200" i="1">
              <a:solidFill>
                <a:srgbClr val="000000"/>
              </a:solidFill>
              <a:ea typeface="MS PGothic" panose="020B0600070205080204" pitchFamily="34" charset="-128"/>
              <a:cs typeface="Arial" panose="020B0604020202020204" pitchFamily="34" charset="0"/>
            </a:endParaRPr>
          </a:p>
        </p:txBody>
      </p:sp>
      <p:pic>
        <p:nvPicPr>
          <p:cNvPr id="22"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972921" y="2236166"/>
            <a:ext cx="1139257" cy="760319"/>
          </a:xfrm>
          <a:prstGeom prst="rect">
            <a:avLst/>
          </a:prstGeom>
          <a:noFill/>
          <a:ln>
            <a:noFill/>
          </a:ln>
          <a:effectLst>
            <a:softEdge rad="3175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05"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99385" y="1365647"/>
            <a:ext cx="1101328" cy="108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306" name="TextBox 20"/>
          <p:cNvSpPr txBox="1">
            <a:spLocks noChangeArrowheads="1"/>
          </p:cNvSpPr>
          <p:nvPr/>
        </p:nvSpPr>
        <p:spPr bwMode="auto">
          <a:xfrm>
            <a:off x="165498" y="3965973"/>
            <a:ext cx="208835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algn="r" defTabSz="685800" fontAlgn="base">
              <a:spcBef>
                <a:spcPct val="0"/>
              </a:spcBef>
              <a:spcAft>
                <a:spcPct val="0"/>
              </a:spcAft>
              <a:buClrTx/>
              <a:buNone/>
            </a:pPr>
            <a:r>
              <a:rPr kumimoji="1" lang="en-US" altLang="en-US" sz="1200" i="1">
                <a:solidFill>
                  <a:srgbClr val="000000"/>
                </a:solidFill>
                <a:ea typeface="MS PGothic" panose="020B0600070205080204" pitchFamily="34" charset="-128"/>
                <a:cs typeface="Arial" panose="020B0604020202020204" pitchFamily="34" charset="0"/>
              </a:rPr>
              <a:t>Demand for agricultural products is increasing</a:t>
            </a:r>
          </a:p>
          <a:p>
            <a:pPr defTabSz="685800" fontAlgn="base">
              <a:spcBef>
                <a:spcPct val="0"/>
              </a:spcBef>
              <a:spcAft>
                <a:spcPct val="0"/>
              </a:spcAft>
              <a:buClrTx/>
              <a:buNone/>
            </a:pPr>
            <a:endParaRPr kumimoji="1" lang="en-US" altLang="en-US" sz="1200">
              <a:solidFill>
                <a:srgbClr val="FFFFFF"/>
              </a:solidFill>
              <a:ea typeface="MS PGothic" panose="020B0600070205080204" pitchFamily="34" charset="-128"/>
              <a:cs typeface="Arial" panose="020B0604020202020204" pitchFamily="34" charset="0"/>
            </a:endParaRPr>
          </a:p>
        </p:txBody>
      </p:sp>
      <p:sp>
        <p:nvSpPr>
          <p:cNvPr id="12307" name="TextBox 29"/>
          <p:cNvSpPr txBox="1">
            <a:spLocks noChangeArrowheads="1"/>
          </p:cNvSpPr>
          <p:nvPr/>
        </p:nvSpPr>
        <p:spPr bwMode="auto">
          <a:xfrm>
            <a:off x="2183607" y="1247776"/>
            <a:ext cx="229433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algn="r" defTabSz="685800" fontAlgn="base">
              <a:spcBef>
                <a:spcPct val="0"/>
              </a:spcBef>
              <a:spcAft>
                <a:spcPct val="0"/>
              </a:spcAft>
              <a:buClrTx/>
              <a:buNone/>
            </a:pPr>
            <a:r>
              <a:rPr kumimoji="1" lang="en-US" altLang="en-US" sz="1200" i="1">
                <a:solidFill>
                  <a:srgbClr val="000000"/>
                </a:solidFill>
                <a:ea typeface="MS PGothic" panose="020B0600070205080204" pitchFamily="34" charset="-128"/>
                <a:cs typeface="Arial" panose="020B0604020202020204" pitchFamily="34" charset="0"/>
              </a:rPr>
              <a:t>Commodity and energy prices are increasingly volatile</a:t>
            </a:r>
          </a:p>
          <a:p>
            <a:pPr algn="r" defTabSz="685800" fontAlgn="base">
              <a:spcBef>
                <a:spcPct val="0"/>
              </a:spcBef>
              <a:spcAft>
                <a:spcPct val="0"/>
              </a:spcAft>
              <a:buClrTx/>
              <a:buNone/>
            </a:pPr>
            <a:endParaRPr kumimoji="1" lang="en-US" altLang="en-US" sz="1200" i="1">
              <a:solidFill>
                <a:srgbClr val="FFFFFF"/>
              </a:solidFill>
              <a:ea typeface="MS PGothic" panose="020B0600070205080204" pitchFamily="34" charset="-128"/>
              <a:cs typeface="Arial" panose="020B0604020202020204" pitchFamily="34" charset="0"/>
            </a:endParaRPr>
          </a:p>
        </p:txBody>
      </p:sp>
      <p:sp>
        <p:nvSpPr>
          <p:cNvPr id="12308" name="TextBox 30"/>
          <p:cNvSpPr txBox="1">
            <a:spLocks noChangeArrowheads="1"/>
          </p:cNvSpPr>
          <p:nvPr/>
        </p:nvSpPr>
        <p:spPr bwMode="auto">
          <a:xfrm>
            <a:off x="5844779" y="3512344"/>
            <a:ext cx="233362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685800" fontAlgn="base">
              <a:spcBef>
                <a:spcPct val="0"/>
              </a:spcBef>
              <a:spcAft>
                <a:spcPct val="0"/>
              </a:spcAft>
              <a:buClrTx/>
              <a:buNone/>
            </a:pPr>
            <a:r>
              <a:rPr kumimoji="1" lang="en-US" altLang="en-US" sz="1200" i="1">
                <a:solidFill>
                  <a:srgbClr val="000000"/>
                </a:solidFill>
                <a:ea typeface="MS PGothic" panose="020B0600070205080204" pitchFamily="34" charset="-128"/>
                <a:cs typeface="Arial" panose="020B0604020202020204" pitchFamily="34" charset="0"/>
              </a:rPr>
              <a:t>Agriculture gains in developing countries are changing global business dynamics</a:t>
            </a:r>
          </a:p>
          <a:p>
            <a:pPr defTabSz="685800" fontAlgn="base">
              <a:spcBef>
                <a:spcPct val="0"/>
              </a:spcBef>
              <a:spcAft>
                <a:spcPct val="0"/>
              </a:spcAft>
              <a:buClrTx/>
              <a:buNone/>
            </a:pPr>
            <a:endParaRPr kumimoji="1" lang="en-US" altLang="en-US" sz="1200">
              <a:solidFill>
                <a:srgbClr val="000000"/>
              </a:solidFill>
              <a:ea typeface="MS PGothic" panose="020B0600070205080204" pitchFamily="34" charset="-128"/>
              <a:cs typeface="Arial" panose="020B0604020202020204" pitchFamily="34" charset="0"/>
            </a:endParaRPr>
          </a:p>
        </p:txBody>
      </p:sp>
      <p:sp>
        <p:nvSpPr>
          <p:cNvPr id="12309" name="TextBox 32"/>
          <p:cNvSpPr txBox="1">
            <a:spLocks noChangeArrowheads="1"/>
          </p:cNvSpPr>
          <p:nvPr/>
        </p:nvSpPr>
        <p:spPr bwMode="auto">
          <a:xfrm>
            <a:off x="4462463" y="4321969"/>
            <a:ext cx="33147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685800" fontAlgn="base">
              <a:spcBef>
                <a:spcPct val="0"/>
              </a:spcBef>
              <a:spcAft>
                <a:spcPct val="0"/>
              </a:spcAft>
              <a:buClrTx/>
              <a:buNone/>
            </a:pPr>
            <a:r>
              <a:rPr kumimoji="1" lang="en-US" altLang="en-US" sz="1200" i="1">
                <a:solidFill>
                  <a:srgbClr val="000000"/>
                </a:solidFill>
                <a:ea typeface="MS PGothic" panose="020B0600070205080204" pitchFamily="34" charset="-128"/>
                <a:cs typeface="Arial" panose="020B0604020202020204" pitchFamily="34" charset="0"/>
              </a:rPr>
              <a:t>Food safety concerns are driving  demand for greater transparency and regulation</a:t>
            </a:r>
            <a:endParaRPr kumimoji="1" lang="en-US" altLang="en-US" sz="1200">
              <a:solidFill>
                <a:srgbClr val="000000"/>
              </a:solidFill>
              <a:ea typeface="MS PGothic" panose="020B0600070205080204" pitchFamily="34" charset="-128"/>
              <a:cs typeface="Arial" panose="020B0604020202020204" pitchFamily="34" charset="0"/>
            </a:endParaRPr>
          </a:p>
        </p:txBody>
      </p:sp>
      <p:pic>
        <p:nvPicPr>
          <p:cNvPr id="12310"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30179" y="1934766"/>
            <a:ext cx="809625" cy="1160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311" name="Rectangle 2"/>
          <p:cNvSpPr>
            <a:spLocks noChangeArrowheads="1"/>
          </p:cNvSpPr>
          <p:nvPr/>
        </p:nvSpPr>
        <p:spPr bwMode="auto">
          <a:xfrm>
            <a:off x="3330179" y="1934766"/>
            <a:ext cx="809625" cy="1333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defTabSz="685800" fontAlgn="base">
              <a:lnSpc>
                <a:spcPct val="90000"/>
              </a:lnSpc>
              <a:spcBef>
                <a:spcPct val="0"/>
              </a:spcBef>
              <a:spcAft>
                <a:spcPct val="0"/>
              </a:spcAft>
              <a:buClrTx/>
              <a:buNone/>
            </a:pPr>
            <a:endParaRPr kumimoji="1" lang="en-US" altLang="en-US" sz="1650">
              <a:solidFill>
                <a:srgbClr val="FFFFFF"/>
              </a:solidFill>
              <a:ea typeface="MS PGothic" panose="020B0600070205080204" pitchFamily="34" charset="-128"/>
              <a:cs typeface="Arial" panose="020B0604020202020204" pitchFamily="34" charset="0"/>
            </a:endParaRPr>
          </a:p>
        </p:txBody>
      </p:sp>
      <p:sp>
        <p:nvSpPr>
          <p:cNvPr id="12312" name="TextBox 22"/>
          <p:cNvSpPr txBox="1">
            <a:spLocks noChangeArrowheads="1"/>
          </p:cNvSpPr>
          <p:nvPr/>
        </p:nvSpPr>
        <p:spPr bwMode="auto">
          <a:xfrm>
            <a:off x="748904" y="2013348"/>
            <a:ext cx="217289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649D"/>
              </a:buClr>
              <a:buFont typeface="Wingdings" panose="05000000000000000000" pitchFamily="2" charset="2"/>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1pPr>
            <a:lvl2pPr marL="742950" indent="-28575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2pPr>
            <a:lvl3pPr marL="1143000" indent="-228600">
              <a:spcBef>
                <a:spcPct val="20000"/>
              </a:spcBef>
              <a:buClr>
                <a:srgbClr val="00649D"/>
              </a:buClr>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3pPr>
            <a:lvl4pPr marL="16002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4pPr>
            <a:lvl5pPr marL="2057400" indent="-228600">
              <a:spcBef>
                <a:spcPct val="20000"/>
              </a:spcBef>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anose="020F0502020204030204" pitchFamily="34" charset="0"/>
                <a:cs typeface="Calibri" panose="020F0502020204030204" pitchFamily="34" charset="0"/>
              </a:defRPr>
            </a:lvl9pPr>
          </a:lstStyle>
          <a:p>
            <a:pPr algn="r" defTabSz="685800" fontAlgn="base">
              <a:spcBef>
                <a:spcPct val="0"/>
              </a:spcBef>
              <a:spcAft>
                <a:spcPct val="0"/>
              </a:spcAft>
              <a:buClrTx/>
              <a:buNone/>
            </a:pPr>
            <a:r>
              <a:rPr kumimoji="1" lang="en-US" altLang="en-US" sz="1200" i="1">
                <a:solidFill>
                  <a:srgbClr val="000000"/>
                </a:solidFill>
                <a:ea typeface="MS PGothic" panose="020B0600070205080204" pitchFamily="34" charset="-128"/>
                <a:cs typeface="Arial" panose="020B0604020202020204" pitchFamily="34" charset="0"/>
              </a:rPr>
              <a:t>Dwindling natural resources are forcing change</a:t>
            </a:r>
          </a:p>
        </p:txBody>
      </p:sp>
    </p:spTree>
    <p:extLst>
      <p:ext uri="{BB962C8B-B14F-4D97-AF65-F5344CB8AC3E}">
        <p14:creationId xmlns:p14="http://schemas.microsoft.com/office/powerpoint/2010/main" val="54873804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en-US" altLang="en-US" dirty="0"/>
              <a:t>IBM / The Weather Company: Differentiation</a:t>
            </a:r>
          </a:p>
        </p:txBody>
      </p:sp>
      <p:sp>
        <p:nvSpPr>
          <p:cNvPr id="11" name="Flowchart: Stored Data 10"/>
          <p:cNvSpPr/>
          <p:nvPr/>
        </p:nvSpPr>
        <p:spPr>
          <a:xfrm rot="10800000">
            <a:off x="514346" y="2094476"/>
            <a:ext cx="1933577" cy="1492698"/>
          </a:xfrm>
          <a:prstGeom prst="flowChartOnlineStorage">
            <a:avLst/>
          </a:prstGeom>
          <a:solidFill>
            <a:srgbClr val="2D8DD7"/>
          </a:solidFill>
          <a:ln w="25400" cap="flat" cmpd="sng" algn="ctr">
            <a:noFill/>
            <a:prstDash val="solid"/>
          </a:ln>
          <a:effectLst/>
        </p:spPr>
        <p:txBody>
          <a:bodyPr rtlCol="0" anchor="ctr"/>
          <a:lstStyle/>
          <a:p>
            <a:pPr algn="ctr" defTabSz="685800">
              <a:defRPr/>
            </a:pPr>
            <a:endParaRPr lang="en-US" sz="1350" kern="0" dirty="0">
              <a:solidFill>
                <a:prstClr val="white"/>
              </a:solidFill>
              <a:latin typeface="Calibri"/>
              <a:ea typeface="ＭＳ Ｐゴシック" charset="-128"/>
              <a:cs typeface="Arial"/>
            </a:endParaRPr>
          </a:p>
        </p:txBody>
      </p:sp>
      <p:pic>
        <p:nvPicPr>
          <p:cNvPr id="14" name="Picture 13" descr="Datafoundation.eps"/>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8774" y="2760658"/>
            <a:ext cx="767993" cy="734027"/>
          </a:xfrm>
          <a:prstGeom prst="rect">
            <a:avLst/>
          </a:prstGeom>
        </p:spPr>
      </p:pic>
      <p:sp>
        <p:nvSpPr>
          <p:cNvPr id="15" name="TextBox 14"/>
          <p:cNvSpPr txBox="1"/>
          <p:nvPr/>
        </p:nvSpPr>
        <p:spPr>
          <a:xfrm>
            <a:off x="885823" y="2176898"/>
            <a:ext cx="1295400" cy="584775"/>
          </a:xfrm>
          <a:prstGeom prst="rect">
            <a:avLst/>
          </a:prstGeom>
          <a:noFill/>
        </p:spPr>
        <p:txBody>
          <a:bodyPr wrap="square" rtlCol="0">
            <a:spAutoFit/>
          </a:bodyPr>
          <a:lstStyle/>
          <a:p>
            <a:pPr algn="ctr" defTabSz="685800" fontAlgn="base">
              <a:spcBef>
                <a:spcPct val="0"/>
              </a:spcBef>
              <a:spcAft>
                <a:spcPct val="0"/>
              </a:spcAft>
            </a:pPr>
            <a:r>
              <a:rPr kumimoji="1" lang="en-US" sz="1600" dirty="0">
                <a:solidFill>
                  <a:prstClr val="white"/>
                </a:solidFill>
                <a:latin typeface="Arial"/>
                <a:ea typeface="ＭＳ Ｐゴシック" charset="-128"/>
                <a:cs typeface="Arial"/>
              </a:rPr>
              <a:t>Data Precision</a:t>
            </a:r>
          </a:p>
        </p:txBody>
      </p:sp>
      <p:sp>
        <p:nvSpPr>
          <p:cNvPr id="16" name="Flowchart: Stored Data 15"/>
          <p:cNvSpPr/>
          <p:nvPr/>
        </p:nvSpPr>
        <p:spPr>
          <a:xfrm rot="10800000">
            <a:off x="2562224" y="2063174"/>
            <a:ext cx="1933577" cy="1492698"/>
          </a:xfrm>
          <a:prstGeom prst="flowChartOnlineStorage">
            <a:avLst/>
          </a:prstGeom>
          <a:solidFill>
            <a:srgbClr val="2D8DD7"/>
          </a:solidFill>
          <a:ln w="25400" cap="flat" cmpd="sng" algn="ctr">
            <a:noFill/>
            <a:prstDash val="solid"/>
          </a:ln>
          <a:effectLst/>
        </p:spPr>
        <p:txBody>
          <a:bodyPr rtlCol="0" anchor="ctr"/>
          <a:lstStyle/>
          <a:p>
            <a:pPr algn="ctr" defTabSz="685800">
              <a:defRPr/>
            </a:pPr>
            <a:endParaRPr lang="en-US" sz="1350" kern="0">
              <a:solidFill>
                <a:prstClr val="white"/>
              </a:solidFill>
              <a:latin typeface="Calibri"/>
              <a:ea typeface="ＭＳ Ｐゴシック" charset="-128"/>
              <a:cs typeface="Arial"/>
            </a:endParaRPr>
          </a:p>
        </p:txBody>
      </p:sp>
      <p:sp>
        <p:nvSpPr>
          <p:cNvPr id="17" name="TextBox 16"/>
          <p:cNvSpPr txBox="1"/>
          <p:nvPr/>
        </p:nvSpPr>
        <p:spPr>
          <a:xfrm>
            <a:off x="2933701" y="2145597"/>
            <a:ext cx="1295400" cy="584775"/>
          </a:xfrm>
          <a:prstGeom prst="rect">
            <a:avLst/>
          </a:prstGeom>
          <a:noFill/>
        </p:spPr>
        <p:txBody>
          <a:bodyPr wrap="square" rtlCol="0">
            <a:spAutoFit/>
          </a:bodyPr>
          <a:lstStyle/>
          <a:p>
            <a:pPr algn="ctr" defTabSz="685800" fontAlgn="base">
              <a:spcBef>
                <a:spcPct val="0"/>
              </a:spcBef>
              <a:spcAft>
                <a:spcPct val="0"/>
              </a:spcAft>
            </a:pPr>
            <a:r>
              <a:rPr kumimoji="1" lang="en-US" sz="1600" dirty="0">
                <a:solidFill>
                  <a:prstClr val="white"/>
                </a:solidFill>
                <a:latin typeface="Arial"/>
                <a:ea typeface="ＭＳ Ｐゴシック" charset="-128"/>
                <a:cs typeface="Arial"/>
              </a:rPr>
              <a:t>Distinctive Analytics</a:t>
            </a:r>
          </a:p>
        </p:txBody>
      </p:sp>
      <p:sp>
        <p:nvSpPr>
          <p:cNvPr id="18" name="Flowchart: Stored Data 17"/>
          <p:cNvSpPr/>
          <p:nvPr/>
        </p:nvSpPr>
        <p:spPr>
          <a:xfrm rot="10800000">
            <a:off x="4543424" y="2094475"/>
            <a:ext cx="1933577" cy="1492698"/>
          </a:xfrm>
          <a:prstGeom prst="flowChartOnlineStorage">
            <a:avLst/>
          </a:prstGeom>
          <a:solidFill>
            <a:srgbClr val="2D8DD7"/>
          </a:solidFill>
          <a:ln w="25400" cap="flat" cmpd="sng" algn="ctr">
            <a:noFill/>
            <a:prstDash val="solid"/>
          </a:ln>
          <a:effectLst/>
        </p:spPr>
        <p:txBody>
          <a:bodyPr rtlCol="0" anchor="ctr"/>
          <a:lstStyle/>
          <a:p>
            <a:pPr algn="ctr" defTabSz="685800">
              <a:defRPr/>
            </a:pPr>
            <a:endParaRPr lang="en-US" sz="1350" kern="0">
              <a:solidFill>
                <a:prstClr val="white"/>
              </a:solidFill>
              <a:latin typeface="Calibri"/>
              <a:ea typeface="ＭＳ Ｐゴシック" charset="-128"/>
              <a:cs typeface="Arial"/>
            </a:endParaRPr>
          </a:p>
        </p:txBody>
      </p:sp>
      <p:sp>
        <p:nvSpPr>
          <p:cNvPr id="19" name="TextBox 18"/>
          <p:cNvSpPr txBox="1"/>
          <p:nvPr/>
        </p:nvSpPr>
        <p:spPr>
          <a:xfrm>
            <a:off x="4914901" y="2176898"/>
            <a:ext cx="1295400" cy="584775"/>
          </a:xfrm>
          <a:prstGeom prst="rect">
            <a:avLst/>
          </a:prstGeom>
          <a:noFill/>
        </p:spPr>
        <p:txBody>
          <a:bodyPr wrap="square" rtlCol="0">
            <a:spAutoFit/>
          </a:bodyPr>
          <a:lstStyle/>
          <a:p>
            <a:pPr algn="ctr" defTabSz="685800" fontAlgn="base">
              <a:spcBef>
                <a:spcPct val="0"/>
              </a:spcBef>
              <a:spcAft>
                <a:spcPct val="0"/>
              </a:spcAft>
            </a:pPr>
            <a:r>
              <a:rPr kumimoji="1" lang="en-US" sz="1600" dirty="0">
                <a:solidFill>
                  <a:prstClr val="white"/>
                </a:solidFill>
                <a:latin typeface="Arial"/>
                <a:ea typeface="ＭＳ Ｐゴシック" charset="-128"/>
                <a:cs typeface="Arial"/>
              </a:rPr>
              <a:t>Intuitive Workflow</a:t>
            </a:r>
          </a:p>
        </p:txBody>
      </p:sp>
      <p:pic>
        <p:nvPicPr>
          <p:cNvPr id="20" name="Picture 19" descr="Workflow.eps"/>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153023" y="2803613"/>
            <a:ext cx="762000" cy="631162"/>
          </a:xfrm>
          <a:prstGeom prst="rect">
            <a:avLst/>
          </a:prstGeom>
        </p:spPr>
      </p:pic>
      <p:sp>
        <p:nvSpPr>
          <p:cNvPr id="23" name="Flowchart: Stored Data 22"/>
          <p:cNvSpPr/>
          <p:nvPr/>
        </p:nvSpPr>
        <p:spPr>
          <a:xfrm rot="10800000">
            <a:off x="6448424" y="2063174"/>
            <a:ext cx="1933577" cy="1492698"/>
          </a:xfrm>
          <a:prstGeom prst="flowChartOnlineStorage">
            <a:avLst/>
          </a:prstGeom>
          <a:solidFill>
            <a:srgbClr val="2D8DD7"/>
          </a:solidFill>
          <a:ln w="25400" cap="flat" cmpd="sng" algn="ctr">
            <a:noFill/>
            <a:prstDash val="solid"/>
          </a:ln>
          <a:effectLst/>
        </p:spPr>
        <p:txBody>
          <a:bodyPr rtlCol="0" anchor="ctr"/>
          <a:lstStyle/>
          <a:p>
            <a:pPr algn="ctr" defTabSz="685800">
              <a:defRPr/>
            </a:pPr>
            <a:endParaRPr lang="en-US" sz="1350" kern="0">
              <a:solidFill>
                <a:prstClr val="white"/>
              </a:solidFill>
              <a:latin typeface="Calibri"/>
              <a:ea typeface="ＭＳ Ｐゴシック" charset="-128"/>
              <a:cs typeface="Arial"/>
            </a:endParaRPr>
          </a:p>
        </p:txBody>
      </p:sp>
      <p:sp>
        <p:nvSpPr>
          <p:cNvPr id="24" name="TextBox 23"/>
          <p:cNvSpPr txBox="1"/>
          <p:nvPr/>
        </p:nvSpPr>
        <p:spPr>
          <a:xfrm>
            <a:off x="6715125" y="2145597"/>
            <a:ext cx="1562099" cy="584775"/>
          </a:xfrm>
          <a:prstGeom prst="rect">
            <a:avLst/>
          </a:prstGeom>
          <a:noFill/>
        </p:spPr>
        <p:txBody>
          <a:bodyPr wrap="square" rtlCol="0">
            <a:spAutoFit/>
          </a:bodyPr>
          <a:lstStyle/>
          <a:p>
            <a:pPr algn="ctr" defTabSz="685800" fontAlgn="base">
              <a:spcBef>
                <a:spcPct val="0"/>
              </a:spcBef>
              <a:spcAft>
                <a:spcPct val="0"/>
              </a:spcAft>
            </a:pPr>
            <a:r>
              <a:rPr kumimoji="1" lang="en-US" sz="1600" dirty="0">
                <a:solidFill>
                  <a:prstClr val="white"/>
                </a:solidFill>
                <a:latin typeface="Arial"/>
                <a:ea typeface="ＭＳ Ｐゴシック" charset="-128"/>
                <a:cs typeface="Arial"/>
              </a:rPr>
              <a:t>Multi-Platform Delivery</a:t>
            </a:r>
          </a:p>
        </p:txBody>
      </p:sp>
      <p:pic>
        <p:nvPicPr>
          <p:cNvPr id="25" name="Picture 24" descr="Digital.eps"/>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981823" y="2901374"/>
            <a:ext cx="917850" cy="457200"/>
          </a:xfrm>
          <a:prstGeom prst="rect">
            <a:avLst/>
          </a:prstGeom>
        </p:spPr>
      </p:pic>
      <p:sp>
        <p:nvSpPr>
          <p:cNvPr id="26" name="Rounded Rectangle 7"/>
          <p:cNvSpPr/>
          <p:nvPr/>
        </p:nvSpPr>
        <p:spPr>
          <a:xfrm>
            <a:off x="609600" y="965202"/>
            <a:ext cx="7924800" cy="906896"/>
          </a:xfrm>
          <a:prstGeom prst="roundRect">
            <a:avLst/>
          </a:prstGeom>
          <a:solidFill>
            <a:srgbClr val="2D8DD7"/>
          </a:solidFill>
          <a:ln w="25400" cap="flat" cmpd="sng" algn="ctr">
            <a:noFill/>
            <a:prstDash val="solid"/>
          </a:ln>
          <a:effectLst/>
        </p:spPr>
        <p:txBody>
          <a:bodyPr rtlCol="0" anchor="ctr"/>
          <a:lstStyle/>
          <a:p>
            <a:pPr algn="ctr" defTabSz="685800">
              <a:defRPr/>
            </a:pPr>
            <a:endParaRPr lang="en-US" sz="2000" kern="0" dirty="0">
              <a:solidFill>
                <a:prstClr val="white"/>
              </a:solidFill>
              <a:latin typeface="Calibri"/>
              <a:ea typeface="ＭＳ Ｐゴシック" charset="-128"/>
              <a:cs typeface="Arial"/>
            </a:endParaRPr>
          </a:p>
        </p:txBody>
      </p:sp>
      <p:pic>
        <p:nvPicPr>
          <p:cNvPr id="27" name="Picture 26" descr="ibm logo white (1).eps"/>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181223" y="1191718"/>
            <a:ext cx="1216137" cy="463550"/>
          </a:xfrm>
          <a:prstGeom prst="rect">
            <a:avLst/>
          </a:prstGeom>
        </p:spPr>
      </p:pic>
      <p:sp>
        <p:nvSpPr>
          <p:cNvPr id="28" name="Rounded Rectangle 48"/>
          <p:cNvSpPr/>
          <p:nvPr/>
        </p:nvSpPr>
        <p:spPr>
          <a:xfrm>
            <a:off x="609600" y="3815776"/>
            <a:ext cx="7924800" cy="889574"/>
          </a:xfrm>
          <a:prstGeom prst="roundRect">
            <a:avLst/>
          </a:prstGeom>
          <a:solidFill>
            <a:srgbClr val="2D8DD7"/>
          </a:solidFill>
          <a:ln w="25400" cap="flat" cmpd="sng" algn="ctr">
            <a:noFill/>
            <a:prstDash val="solid"/>
          </a:ln>
          <a:effectLst/>
        </p:spPr>
        <p:txBody>
          <a:bodyPr rtlCol="0" anchor="ctr"/>
          <a:lstStyle/>
          <a:p>
            <a:pPr algn="ctr" defTabSz="685800">
              <a:defRPr/>
            </a:pPr>
            <a:r>
              <a:rPr lang="en-US" sz="2000" kern="0" dirty="0">
                <a:solidFill>
                  <a:prstClr val="white"/>
                </a:solidFill>
                <a:latin typeface="Calibri"/>
                <a:ea typeface="ＭＳ Ｐゴシック" charset="-128"/>
                <a:cs typeface="Arial"/>
              </a:rPr>
              <a:t>Support &amp; Innovation</a:t>
            </a:r>
          </a:p>
        </p:txBody>
      </p:sp>
      <p:pic>
        <p:nvPicPr>
          <p:cNvPr id="29" name="Picture 28" descr="Innovation.eps"/>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209801" y="3872645"/>
            <a:ext cx="602103" cy="781330"/>
          </a:xfrm>
          <a:prstGeom prst="rect">
            <a:avLst/>
          </a:prstGeom>
        </p:spPr>
      </p:pic>
      <p:pic>
        <p:nvPicPr>
          <p:cNvPr id="30" name="Picture 29" descr="Innovation.eps"/>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79698" y="3891975"/>
            <a:ext cx="602103" cy="781330"/>
          </a:xfrm>
          <a:prstGeom prst="rect">
            <a:avLst/>
          </a:prstGeom>
        </p:spPr>
      </p:pic>
      <p:pic>
        <p:nvPicPr>
          <p:cNvPr id="31" name="Picture 30" descr="AR.eps"/>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122216" y="2876423"/>
            <a:ext cx="937417" cy="533399"/>
          </a:xfrm>
          <a:prstGeom prst="rect">
            <a:avLst/>
          </a:prstGeom>
        </p:spPr>
      </p:pic>
      <p:sp>
        <p:nvSpPr>
          <p:cNvPr id="32" name="TextBox 31"/>
          <p:cNvSpPr txBox="1"/>
          <p:nvPr/>
        </p:nvSpPr>
        <p:spPr>
          <a:xfrm>
            <a:off x="3086101" y="971550"/>
            <a:ext cx="2781299" cy="338554"/>
          </a:xfrm>
          <a:prstGeom prst="rect">
            <a:avLst/>
          </a:prstGeom>
          <a:noFill/>
        </p:spPr>
        <p:txBody>
          <a:bodyPr wrap="square" rtlCol="0">
            <a:spAutoFit/>
          </a:bodyPr>
          <a:lstStyle/>
          <a:p>
            <a:pPr algn="ctr" defTabSz="685800" fontAlgn="base">
              <a:spcBef>
                <a:spcPct val="0"/>
              </a:spcBef>
              <a:spcAft>
                <a:spcPct val="0"/>
              </a:spcAft>
            </a:pPr>
            <a:r>
              <a:rPr kumimoji="1" lang="en-US" sz="1600" dirty="0">
                <a:solidFill>
                  <a:prstClr val="white"/>
                </a:solidFill>
                <a:latin typeface="Arial"/>
                <a:ea typeface="ＭＳ Ｐゴシック" charset="-128"/>
                <a:cs typeface="Arial"/>
              </a:rPr>
              <a:t>Proven Reliability</a:t>
            </a:r>
          </a:p>
        </p:txBody>
      </p:sp>
      <p:pic>
        <p:nvPicPr>
          <p:cNvPr id="21" name="Picture 1747" descr="C:\Users\IBM_AD~1\AppData\Local\Temp\TWCo-IBM-logo_Transparent_Background_Web_Size-1.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704980" y="1007904"/>
            <a:ext cx="838696" cy="745750"/>
          </a:xfrm>
          <a:prstGeom prst="rect">
            <a:avLst/>
          </a:prstGeom>
          <a:noFill/>
        </p:spPr>
      </p:pic>
    </p:spTree>
    <p:extLst>
      <p:ext uri="{BB962C8B-B14F-4D97-AF65-F5344CB8AC3E}">
        <p14:creationId xmlns:p14="http://schemas.microsoft.com/office/powerpoint/2010/main" val="140828606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32" descr="https://pixabay.com/static/uploads/photo/2015/09/02/12/34/field-918534_960_720.jpg"/>
          <p:cNvPicPr>
            <a:picLocks noChangeAspect="1" noChangeArrowheads="1"/>
          </p:cNvPicPr>
          <p:nvPr/>
        </p:nvPicPr>
        <p:blipFill>
          <a:blip r:embed="rId2">
            <a:extLst>
              <a:ext uri="{28A0092B-C50C-407E-A947-70E740481C1C}">
                <a14:useLocalDpi xmlns:a14="http://schemas.microsoft.com/office/drawing/2010/main" val="0"/>
              </a:ext>
            </a:extLst>
          </a:blip>
          <a:srcRect l="5144" t="14937" b="4697"/>
          <a:stretch>
            <a:fillRect/>
          </a:stretch>
        </p:blipFill>
        <p:spPr bwMode="auto">
          <a:xfrm>
            <a:off x="-10716" y="-11907"/>
            <a:ext cx="9233297" cy="5214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39" name="Rectangle 3"/>
          <p:cNvSpPr>
            <a:spLocks noChangeArrowheads="1"/>
          </p:cNvSpPr>
          <p:nvPr/>
        </p:nvSpPr>
        <p:spPr bwMode="auto">
          <a:xfrm>
            <a:off x="419100" y="1637110"/>
            <a:ext cx="1988344" cy="2812256"/>
          </a:xfrm>
          <a:prstGeom prst="rect">
            <a:avLst/>
          </a:prstGeom>
          <a:solidFill>
            <a:srgbClr val="D9D9D9">
              <a:alpha val="81176"/>
            </a:srgbClr>
          </a:solidFill>
          <a:ln w="9525" algn="ctr">
            <a:solidFill>
              <a:srgbClr val="41521A"/>
            </a:solidFill>
            <a:round/>
            <a:headEnd/>
            <a:tailEnd/>
          </a:ln>
        </p:spPr>
        <p:txBody>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algn="ctr" defTabSz="685800" fontAlgn="base">
              <a:spcBef>
                <a:spcPct val="0"/>
              </a:spcBef>
              <a:spcAft>
                <a:spcPct val="0"/>
              </a:spcAft>
            </a:pPr>
            <a:endParaRPr kumimoji="0" lang="en-US" altLang="en-US" sz="825">
              <a:solidFill>
                <a:srgbClr val="000000"/>
              </a:solidFill>
              <a:cs typeface="Arial"/>
            </a:endParaRPr>
          </a:p>
        </p:txBody>
      </p:sp>
      <p:sp>
        <p:nvSpPr>
          <p:cNvPr id="14340" name="Rectangle 8"/>
          <p:cNvSpPr>
            <a:spLocks noChangeArrowheads="1"/>
          </p:cNvSpPr>
          <p:nvPr/>
        </p:nvSpPr>
        <p:spPr bwMode="auto">
          <a:xfrm>
            <a:off x="2558654" y="1637110"/>
            <a:ext cx="1988344" cy="2812256"/>
          </a:xfrm>
          <a:prstGeom prst="rect">
            <a:avLst/>
          </a:prstGeom>
          <a:solidFill>
            <a:srgbClr val="D9D9D9">
              <a:alpha val="81176"/>
            </a:srgbClr>
          </a:solidFill>
          <a:ln w="9525" algn="ctr">
            <a:solidFill>
              <a:srgbClr val="41521A"/>
            </a:solidFill>
            <a:round/>
            <a:headEnd/>
            <a:tailEnd/>
          </a:ln>
        </p:spPr>
        <p:txBody>
          <a:bodyPr/>
          <a:lstStyle/>
          <a:p>
            <a:pPr algn="ctr" defTabSz="685800" fontAlgn="base">
              <a:spcBef>
                <a:spcPct val="0"/>
              </a:spcBef>
              <a:spcAft>
                <a:spcPct val="0"/>
              </a:spcAft>
            </a:pPr>
            <a:endParaRPr lang="en-US" altLang="en-US" sz="825">
              <a:solidFill>
                <a:srgbClr val="000000"/>
              </a:solidFill>
              <a:latin typeface="Arial" panose="020B0604020202020204" pitchFamily="34" charset="0"/>
              <a:ea typeface="MS PGothic" panose="020B0600070205080204" pitchFamily="34" charset="-128"/>
              <a:cs typeface="Arial"/>
            </a:endParaRPr>
          </a:p>
        </p:txBody>
      </p:sp>
      <p:sp>
        <p:nvSpPr>
          <p:cNvPr id="14341" name="Rectangle 9"/>
          <p:cNvSpPr>
            <a:spLocks noChangeArrowheads="1"/>
          </p:cNvSpPr>
          <p:nvPr/>
        </p:nvSpPr>
        <p:spPr bwMode="auto">
          <a:xfrm>
            <a:off x="4698207" y="1637110"/>
            <a:ext cx="1988344" cy="2812256"/>
          </a:xfrm>
          <a:prstGeom prst="rect">
            <a:avLst/>
          </a:prstGeom>
          <a:solidFill>
            <a:srgbClr val="D9D9D9">
              <a:alpha val="81176"/>
            </a:srgbClr>
          </a:solidFill>
          <a:ln w="9525" algn="ctr">
            <a:solidFill>
              <a:srgbClr val="41521A"/>
            </a:solidFill>
            <a:round/>
            <a:headEnd/>
            <a:tailEnd/>
          </a:ln>
        </p:spPr>
        <p:txBody>
          <a:bodyPr/>
          <a:lstStyle/>
          <a:p>
            <a:pPr algn="ctr" defTabSz="685800" fontAlgn="base">
              <a:spcBef>
                <a:spcPct val="0"/>
              </a:spcBef>
              <a:spcAft>
                <a:spcPct val="0"/>
              </a:spcAft>
            </a:pPr>
            <a:endParaRPr lang="en-US" altLang="en-US" sz="825">
              <a:solidFill>
                <a:srgbClr val="000000"/>
              </a:solidFill>
              <a:latin typeface="Arial" panose="020B0604020202020204" pitchFamily="34" charset="0"/>
              <a:ea typeface="MS PGothic" panose="020B0600070205080204" pitchFamily="34" charset="-128"/>
              <a:cs typeface="Arial"/>
            </a:endParaRPr>
          </a:p>
        </p:txBody>
      </p:sp>
      <p:sp>
        <p:nvSpPr>
          <p:cNvPr id="14342" name="Rectangle 10"/>
          <p:cNvSpPr>
            <a:spLocks noChangeArrowheads="1"/>
          </p:cNvSpPr>
          <p:nvPr/>
        </p:nvSpPr>
        <p:spPr bwMode="auto">
          <a:xfrm>
            <a:off x="6837760" y="1637110"/>
            <a:ext cx="1988344" cy="2812256"/>
          </a:xfrm>
          <a:prstGeom prst="rect">
            <a:avLst/>
          </a:prstGeom>
          <a:solidFill>
            <a:srgbClr val="D9D9D9">
              <a:alpha val="81176"/>
            </a:srgbClr>
          </a:solidFill>
          <a:ln w="9525" algn="ctr">
            <a:solidFill>
              <a:srgbClr val="41521A"/>
            </a:solidFill>
            <a:round/>
            <a:headEnd/>
            <a:tailEnd/>
          </a:ln>
        </p:spPr>
        <p:txBody>
          <a:bodyPr/>
          <a:lstStyle/>
          <a:p>
            <a:pPr algn="ctr" defTabSz="685800" fontAlgn="base">
              <a:spcBef>
                <a:spcPct val="0"/>
              </a:spcBef>
              <a:spcAft>
                <a:spcPct val="0"/>
              </a:spcAft>
            </a:pPr>
            <a:endParaRPr lang="en-US" altLang="en-US" sz="825">
              <a:solidFill>
                <a:srgbClr val="000000"/>
              </a:solidFill>
              <a:latin typeface="Arial" panose="020B0604020202020204" pitchFamily="34" charset="0"/>
              <a:ea typeface="MS PGothic" panose="020B0600070205080204" pitchFamily="34" charset="-128"/>
              <a:cs typeface="Arial"/>
            </a:endParaRPr>
          </a:p>
        </p:txBody>
      </p:sp>
      <p:sp>
        <p:nvSpPr>
          <p:cNvPr id="6" name="Shape 186"/>
          <p:cNvSpPr txBox="1">
            <a:spLocks/>
          </p:cNvSpPr>
          <p:nvPr/>
        </p:nvSpPr>
        <p:spPr bwMode="auto">
          <a:xfrm>
            <a:off x="631032" y="377428"/>
            <a:ext cx="4747022" cy="566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rtl="0" eaLnBrk="0" fontAlgn="base" hangingPunct="0">
              <a:spcBef>
                <a:spcPct val="0"/>
              </a:spcBef>
              <a:spcAft>
                <a:spcPct val="0"/>
              </a:spcAft>
              <a:defRPr sz="2400" b="1">
                <a:solidFill>
                  <a:srgbClr val="00649D"/>
                </a:solidFill>
                <a:latin typeface="Arial" panose="020B0604020202020204" pitchFamily="34" charset="0"/>
                <a:ea typeface="Calibri" pitchFamily="34" charset="0"/>
                <a:cs typeface="Calibri" panose="020F0502020204030204" pitchFamily="34" charset="0"/>
              </a:defRPr>
            </a:lvl1pPr>
            <a:lvl2pPr algn="l" rtl="0" eaLnBrk="0" fontAlgn="base" hangingPunct="0">
              <a:spcBef>
                <a:spcPct val="0"/>
              </a:spcBef>
              <a:spcAft>
                <a:spcPct val="0"/>
              </a:spcAft>
              <a:defRPr sz="2400" b="1">
                <a:solidFill>
                  <a:srgbClr val="00649D"/>
                </a:solidFill>
                <a:latin typeface="Arial" pitchFamily="34" charset="0"/>
                <a:ea typeface="Calibri" pitchFamily="34" charset="0"/>
                <a:cs typeface="Calibri" pitchFamily="34" charset="0"/>
              </a:defRPr>
            </a:lvl2pPr>
            <a:lvl3pPr algn="l" rtl="0" eaLnBrk="0" fontAlgn="base" hangingPunct="0">
              <a:spcBef>
                <a:spcPct val="0"/>
              </a:spcBef>
              <a:spcAft>
                <a:spcPct val="0"/>
              </a:spcAft>
              <a:defRPr sz="2400" b="1">
                <a:solidFill>
                  <a:srgbClr val="00649D"/>
                </a:solidFill>
                <a:latin typeface="Arial" pitchFamily="34" charset="0"/>
                <a:ea typeface="Calibri" pitchFamily="34" charset="0"/>
                <a:cs typeface="Calibri" pitchFamily="34" charset="0"/>
              </a:defRPr>
            </a:lvl3pPr>
            <a:lvl4pPr algn="l" rtl="0" eaLnBrk="0" fontAlgn="base" hangingPunct="0">
              <a:spcBef>
                <a:spcPct val="0"/>
              </a:spcBef>
              <a:spcAft>
                <a:spcPct val="0"/>
              </a:spcAft>
              <a:defRPr sz="2400" b="1">
                <a:solidFill>
                  <a:srgbClr val="00649D"/>
                </a:solidFill>
                <a:latin typeface="Arial" pitchFamily="34" charset="0"/>
                <a:ea typeface="Calibri" pitchFamily="34" charset="0"/>
                <a:cs typeface="Calibri" pitchFamily="34" charset="0"/>
              </a:defRPr>
            </a:lvl4pPr>
            <a:lvl5pPr algn="l" rtl="0" eaLnBrk="0" fontAlgn="base" hangingPunct="0">
              <a:spcBef>
                <a:spcPct val="0"/>
              </a:spcBef>
              <a:spcAft>
                <a:spcPct val="0"/>
              </a:spcAft>
              <a:defRPr sz="2400" b="1">
                <a:solidFill>
                  <a:srgbClr val="00649D"/>
                </a:solidFill>
                <a:latin typeface="Arial" pitchFamily="34" charset="0"/>
                <a:ea typeface="Calibri" pitchFamily="34" charset="0"/>
                <a:cs typeface="Calibri" pitchFamily="34" charset="0"/>
              </a:defRPr>
            </a:lvl5pPr>
            <a:lvl6pPr marL="457200" algn="l" rtl="0" eaLnBrk="1" fontAlgn="base" hangingPunct="1">
              <a:spcBef>
                <a:spcPct val="0"/>
              </a:spcBef>
              <a:spcAft>
                <a:spcPct val="0"/>
              </a:spcAft>
              <a:defRPr b="1">
                <a:solidFill>
                  <a:srgbClr val="00649D"/>
                </a:solidFill>
                <a:latin typeface="Arial" pitchFamily="34" charset="0"/>
                <a:cs typeface="Arial" pitchFamily="34" charset="0"/>
              </a:defRPr>
            </a:lvl6pPr>
            <a:lvl7pPr marL="914400" algn="l" rtl="0" eaLnBrk="1" fontAlgn="base" hangingPunct="1">
              <a:spcBef>
                <a:spcPct val="0"/>
              </a:spcBef>
              <a:spcAft>
                <a:spcPct val="0"/>
              </a:spcAft>
              <a:defRPr b="1">
                <a:solidFill>
                  <a:srgbClr val="00649D"/>
                </a:solidFill>
                <a:latin typeface="Arial" pitchFamily="34" charset="0"/>
                <a:cs typeface="Arial" pitchFamily="34" charset="0"/>
              </a:defRPr>
            </a:lvl7pPr>
            <a:lvl8pPr marL="1371600" algn="l" rtl="0" eaLnBrk="1" fontAlgn="base" hangingPunct="1">
              <a:spcBef>
                <a:spcPct val="0"/>
              </a:spcBef>
              <a:spcAft>
                <a:spcPct val="0"/>
              </a:spcAft>
              <a:defRPr b="1">
                <a:solidFill>
                  <a:srgbClr val="00649D"/>
                </a:solidFill>
                <a:latin typeface="Arial" pitchFamily="34" charset="0"/>
                <a:cs typeface="Arial" pitchFamily="34" charset="0"/>
              </a:defRPr>
            </a:lvl8pPr>
            <a:lvl9pPr marL="1828800" algn="l" rtl="0" eaLnBrk="1" fontAlgn="base" hangingPunct="1">
              <a:spcBef>
                <a:spcPct val="0"/>
              </a:spcBef>
              <a:spcAft>
                <a:spcPct val="0"/>
              </a:spcAft>
              <a:defRPr b="1">
                <a:solidFill>
                  <a:srgbClr val="00649D"/>
                </a:solidFill>
                <a:latin typeface="Arial" pitchFamily="34" charset="0"/>
                <a:cs typeface="Arial" pitchFamily="34" charset="0"/>
              </a:defRPr>
            </a:lvl9pPr>
          </a:lstStyle>
          <a:p>
            <a:pPr defTabSz="685800" eaLnBrk="1" hangingPunct="1">
              <a:lnSpc>
                <a:spcPct val="60000"/>
              </a:lnSpc>
              <a:defRPr/>
            </a:pPr>
            <a:r>
              <a:rPr lang="en-US" altLang="en-US" sz="1125" kern="0" dirty="0">
                <a:solidFill>
                  <a:schemeClr val="tx1"/>
                </a:solidFill>
                <a:cs typeface="Arial" panose="020B0604020202020204" pitchFamily="34" charset="0"/>
                <a:sym typeface="Arial" panose="020B0604020202020204" pitchFamily="34" charset="0"/>
              </a:rPr>
              <a:t> Our</a:t>
            </a:r>
            <a:br>
              <a:rPr lang="en-US" altLang="en-US" sz="1125" kern="0" dirty="0">
                <a:solidFill>
                  <a:schemeClr val="tx1"/>
                </a:solidFill>
                <a:cs typeface="Arial" panose="020B0604020202020204" pitchFamily="34" charset="0"/>
                <a:sym typeface="Arial" panose="020B0604020202020204" pitchFamily="34" charset="0"/>
              </a:rPr>
            </a:br>
            <a:r>
              <a:rPr lang="en-US" altLang="en-US" sz="1125" kern="0" dirty="0">
                <a:solidFill>
                  <a:schemeClr val="tx1"/>
                </a:solidFill>
                <a:cs typeface="Arial" panose="020B0604020202020204" pitchFamily="34" charset="0"/>
                <a:sym typeface="Arial" panose="020B0604020202020204" pitchFamily="34" charset="0"/>
              </a:rPr>
              <a:t>        </a:t>
            </a:r>
            <a:r>
              <a:rPr lang="en-US" altLang="en-US" sz="4050" kern="0" dirty="0">
                <a:solidFill>
                  <a:schemeClr val="tx1"/>
                </a:solidFill>
                <a:cs typeface="Arial" panose="020B0604020202020204" pitchFamily="34" charset="0"/>
                <a:sym typeface="Arial" panose="020B0604020202020204" pitchFamily="34" charset="0"/>
              </a:rPr>
              <a:t>Advantage</a:t>
            </a:r>
          </a:p>
        </p:txBody>
      </p:sp>
      <p:sp>
        <p:nvSpPr>
          <p:cNvPr id="12" name="Title 1"/>
          <p:cNvSpPr txBox="1">
            <a:spLocks/>
          </p:cNvSpPr>
          <p:nvPr/>
        </p:nvSpPr>
        <p:spPr>
          <a:xfrm>
            <a:off x="513160" y="1720454"/>
            <a:ext cx="1800225" cy="667875"/>
          </a:xfrm>
          <a:prstGeom prst="rect">
            <a:avLst/>
          </a:prstGeom>
          <a:ln w="12700">
            <a:miter lim="400000"/>
          </a:ln>
        </p:spPr>
        <p:txBody>
          <a:bodyPr lIns="38100" tIns="38100" rIns="38100" bIns="381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l" defTabSz="825500">
              <a:lnSpc>
                <a:spcPct val="80000"/>
              </a:lnSpc>
              <a:defRPr sz="9300" spc="-279">
                <a:solidFill>
                  <a:srgbClr val="0E2C4E"/>
                </a:solidFill>
                <a:uFill>
                  <a:solidFill>
                    <a:srgbClr val="000000"/>
                  </a:solidFill>
                </a:uFill>
                <a:latin typeface="Rembrandt"/>
                <a:ea typeface="Rembrandt"/>
                <a:cs typeface="Rembrandt"/>
              </a:defRPr>
            </a:lvl1pPr>
          </a:lstStyle>
          <a:p>
            <a:pPr defTabSz="619125" eaLnBrk="0" fontAlgn="base" hangingPunct="0">
              <a:spcBef>
                <a:spcPct val="0"/>
              </a:spcBef>
              <a:spcAft>
                <a:spcPct val="0"/>
              </a:spcAft>
              <a:defRPr/>
            </a:pPr>
            <a:r>
              <a:rPr kumimoji="1" lang="en-US" sz="2400" spc="-209" dirty="0">
                <a:solidFill>
                  <a:schemeClr val="tx1"/>
                </a:solidFill>
              </a:rPr>
              <a:t>Brand </a:t>
            </a:r>
          </a:p>
          <a:p>
            <a:pPr defTabSz="619125" eaLnBrk="0" fontAlgn="base" hangingPunct="0">
              <a:spcBef>
                <a:spcPct val="0"/>
              </a:spcBef>
              <a:spcAft>
                <a:spcPct val="0"/>
              </a:spcAft>
              <a:defRPr/>
            </a:pPr>
            <a:r>
              <a:rPr kumimoji="1" lang="en-US" sz="2400" spc="-209" dirty="0">
                <a:solidFill>
                  <a:schemeClr val="tx1"/>
                </a:solidFill>
              </a:rPr>
              <a:t>Recognition</a:t>
            </a:r>
          </a:p>
        </p:txBody>
      </p:sp>
      <p:sp>
        <p:nvSpPr>
          <p:cNvPr id="13" name="Title 1"/>
          <p:cNvSpPr txBox="1">
            <a:spLocks/>
          </p:cNvSpPr>
          <p:nvPr/>
        </p:nvSpPr>
        <p:spPr>
          <a:xfrm>
            <a:off x="2652713" y="1720454"/>
            <a:ext cx="1800225" cy="667875"/>
          </a:xfrm>
          <a:prstGeom prst="rect">
            <a:avLst/>
          </a:prstGeom>
          <a:ln w="12700">
            <a:miter lim="400000"/>
          </a:ln>
        </p:spPr>
        <p:txBody>
          <a:bodyPr lIns="38100" tIns="38100" rIns="38100" bIns="381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l" defTabSz="825500">
              <a:lnSpc>
                <a:spcPct val="80000"/>
              </a:lnSpc>
              <a:defRPr sz="9300" spc="-279">
                <a:solidFill>
                  <a:srgbClr val="0E2C4E"/>
                </a:solidFill>
                <a:uFill>
                  <a:solidFill>
                    <a:srgbClr val="000000"/>
                  </a:solidFill>
                </a:uFill>
                <a:latin typeface="Rembrandt"/>
                <a:ea typeface="Rembrandt"/>
                <a:cs typeface="Rembrandt"/>
              </a:defRPr>
            </a:lvl1pPr>
          </a:lstStyle>
          <a:p>
            <a:pPr defTabSz="619125" eaLnBrk="0" fontAlgn="base" hangingPunct="0">
              <a:spcBef>
                <a:spcPct val="0"/>
              </a:spcBef>
              <a:spcAft>
                <a:spcPct val="0"/>
              </a:spcAft>
              <a:defRPr/>
            </a:pPr>
            <a:r>
              <a:rPr kumimoji="1" lang="en-US" sz="2400" spc="-209" dirty="0">
                <a:solidFill>
                  <a:schemeClr val="tx1"/>
                </a:solidFill>
              </a:rPr>
              <a:t>Unique</a:t>
            </a:r>
          </a:p>
          <a:p>
            <a:pPr defTabSz="619125" eaLnBrk="0" fontAlgn="base" hangingPunct="0">
              <a:spcBef>
                <a:spcPct val="0"/>
              </a:spcBef>
              <a:spcAft>
                <a:spcPct val="0"/>
              </a:spcAft>
              <a:defRPr/>
            </a:pPr>
            <a:r>
              <a:rPr kumimoji="1" lang="en-US" sz="2400" spc="-209" dirty="0">
                <a:solidFill>
                  <a:schemeClr val="tx1"/>
                </a:solidFill>
              </a:rPr>
              <a:t>Data Sets</a:t>
            </a:r>
          </a:p>
        </p:txBody>
      </p:sp>
      <p:sp>
        <p:nvSpPr>
          <p:cNvPr id="14" name="Title 1"/>
          <p:cNvSpPr txBox="1">
            <a:spLocks/>
          </p:cNvSpPr>
          <p:nvPr/>
        </p:nvSpPr>
        <p:spPr>
          <a:xfrm>
            <a:off x="4792266" y="1720454"/>
            <a:ext cx="1800225" cy="667875"/>
          </a:xfrm>
          <a:prstGeom prst="rect">
            <a:avLst/>
          </a:prstGeom>
          <a:ln w="12700">
            <a:miter lim="400000"/>
          </a:ln>
        </p:spPr>
        <p:txBody>
          <a:bodyPr lIns="38100" tIns="38100" rIns="38100" bIns="381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l" defTabSz="825500">
              <a:lnSpc>
                <a:spcPct val="80000"/>
              </a:lnSpc>
              <a:defRPr sz="9300" spc="-279">
                <a:solidFill>
                  <a:srgbClr val="0E2C4E"/>
                </a:solidFill>
                <a:uFill>
                  <a:solidFill>
                    <a:srgbClr val="000000"/>
                  </a:solidFill>
                </a:uFill>
                <a:latin typeface="Rembrandt"/>
                <a:ea typeface="Rembrandt"/>
                <a:cs typeface="Rembrandt"/>
              </a:defRPr>
            </a:lvl1pPr>
          </a:lstStyle>
          <a:p>
            <a:pPr defTabSz="619125" eaLnBrk="0" fontAlgn="base" hangingPunct="0">
              <a:spcBef>
                <a:spcPct val="0"/>
              </a:spcBef>
              <a:spcAft>
                <a:spcPct val="0"/>
              </a:spcAft>
              <a:defRPr/>
            </a:pPr>
            <a:r>
              <a:rPr kumimoji="1" lang="en-US" sz="2400" spc="-209" dirty="0">
                <a:solidFill>
                  <a:schemeClr val="tx1"/>
                </a:solidFill>
              </a:rPr>
              <a:t>The Granularity</a:t>
            </a:r>
          </a:p>
          <a:p>
            <a:pPr defTabSz="619125" eaLnBrk="0" fontAlgn="base" hangingPunct="0">
              <a:spcBef>
                <a:spcPct val="0"/>
              </a:spcBef>
              <a:spcAft>
                <a:spcPct val="0"/>
              </a:spcAft>
              <a:defRPr/>
            </a:pPr>
            <a:r>
              <a:rPr kumimoji="1" lang="en-US" sz="2400" spc="-209" dirty="0">
                <a:solidFill>
                  <a:schemeClr val="tx1"/>
                </a:solidFill>
              </a:rPr>
              <a:t>Required</a:t>
            </a:r>
          </a:p>
        </p:txBody>
      </p:sp>
      <p:sp>
        <p:nvSpPr>
          <p:cNvPr id="15" name="Title 1"/>
          <p:cNvSpPr txBox="1">
            <a:spLocks/>
          </p:cNvSpPr>
          <p:nvPr/>
        </p:nvSpPr>
        <p:spPr>
          <a:xfrm>
            <a:off x="6931819" y="1720454"/>
            <a:ext cx="1800225" cy="667875"/>
          </a:xfrm>
          <a:prstGeom prst="rect">
            <a:avLst/>
          </a:prstGeom>
          <a:ln w="12700">
            <a:miter lim="400000"/>
          </a:ln>
        </p:spPr>
        <p:txBody>
          <a:bodyPr lIns="38100" tIns="38100" rIns="38100" bIns="381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l" defTabSz="825500">
              <a:lnSpc>
                <a:spcPct val="80000"/>
              </a:lnSpc>
              <a:defRPr sz="9300" spc="-279">
                <a:solidFill>
                  <a:srgbClr val="0E2C4E"/>
                </a:solidFill>
                <a:uFill>
                  <a:solidFill>
                    <a:srgbClr val="000000"/>
                  </a:solidFill>
                </a:uFill>
                <a:latin typeface="Rembrandt"/>
                <a:ea typeface="Rembrandt"/>
                <a:cs typeface="Rembrandt"/>
              </a:defRPr>
            </a:lvl1pPr>
          </a:lstStyle>
          <a:p>
            <a:pPr defTabSz="619125" eaLnBrk="0" fontAlgn="base" hangingPunct="0">
              <a:spcBef>
                <a:spcPct val="0"/>
              </a:spcBef>
              <a:spcAft>
                <a:spcPct val="0"/>
              </a:spcAft>
              <a:defRPr/>
            </a:pPr>
            <a:r>
              <a:rPr kumimoji="1" lang="en-US" sz="2400" spc="-209" dirty="0">
                <a:solidFill>
                  <a:schemeClr val="tx1"/>
                </a:solidFill>
              </a:rPr>
              <a:t>Always - On</a:t>
            </a:r>
          </a:p>
          <a:p>
            <a:pPr defTabSz="619125" eaLnBrk="0" fontAlgn="base" hangingPunct="0">
              <a:spcBef>
                <a:spcPct val="0"/>
              </a:spcBef>
              <a:spcAft>
                <a:spcPct val="0"/>
              </a:spcAft>
              <a:defRPr/>
            </a:pPr>
            <a:r>
              <a:rPr kumimoji="1" lang="en-US" sz="2400" spc="-209" dirty="0">
                <a:solidFill>
                  <a:schemeClr val="tx1"/>
                </a:solidFill>
              </a:rPr>
              <a:t>Solutions</a:t>
            </a:r>
          </a:p>
        </p:txBody>
      </p:sp>
      <p:sp>
        <p:nvSpPr>
          <p:cNvPr id="16" name="Shape 187"/>
          <p:cNvSpPr/>
          <p:nvPr/>
        </p:nvSpPr>
        <p:spPr>
          <a:xfrm>
            <a:off x="496491" y="2343150"/>
            <a:ext cx="1816894" cy="877491"/>
          </a:xfrm>
          <a:prstGeom prst="rect">
            <a:avLst/>
          </a:prstGeom>
          <a:ln w="12700">
            <a:miter lim="400000"/>
          </a:ln>
          <a:extLst>
            <a:ext uri="{C572A759-6A51-4108-AA02-DFA0A04FC94B}"/>
          </a:extLst>
        </p:spPr>
        <p:txBody>
          <a:bodyPr lIns="0" tIns="0" rIns="0" bIns="0">
            <a:normAutofit/>
          </a:bodyPr>
          <a:lstStyle/>
          <a:p>
            <a:pPr defTabSz="685800" eaLnBrk="0" hangingPunct="0">
              <a:lnSpc>
                <a:spcPct val="120000"/>
              </a:lnSpc>
              <a:defRPr/>
            </a:pPr>
            <a:r>
              <a:rPr kumimoji="1" lang="en-US" sz="1050" b="1" kern="0" dirty="0">
                <a:solidFill>
                  <a:schemeClr val="tx2">
                    <a:lumMod val="75000"/>
                  </a:schemeClr>
                </a:solidFill>
                <a:latin typeface="Arial"/>
                <a:ea typeface="Arial"/>
                <a:cs typeface="Arial"/>
                <a:sym typeface="Arial"/>
              </a:rPr>
              <a:t>The Weather Company is the #1 provider of weather data in the world, B2B &amp; B2C</a:t>
            </a:r>
          </a:p>
        </p:txBody>
      </p:sp>
      <p:pic>
        <p:nvPicPr>
          <p:cNvPr id="14349"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52500" y="3368279"/>
            <a:ext cx="685800" cy="648890"/>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pic>
        <p:nvPicPr>
          <p:cNvPr id="14350" name="Pictur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rot="21395656">
            <a:off x="1388269" y="3765948"/>
            <a:ext cx="908447" cy="544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1" name="Picture 4" descr="https://d13yacurqjgara.cloudfront.net/users/161337/screenshots/1719571/attachments/303273/iphone_6.png"/>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21081644">
            <a:off x="585788" y="3595688"/>
            <a:ext cx="354806" cy="698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 descr="http://cdn.macrumors.com/article-new/2014/06/weatherinfo.jpg"/>
          <p:cNvPicPr>
            <a:picLocks noChangeAspect="1" noChangeArrowheads="1"/>
          </p:cNvPicPr>
          <p:nvPr/>
        </p:nvPicPr>
        <p:blipFill rotWithShape="1">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rot="21081644">
            <a:off x="623346" y="3688086"/>
            <a:ext cx="288773" cy="514837"/>
          </a:xfrm>
          <a:prstGeom prst="roundRect">
            <a:avLst>
              <a:gd name="adj" fmla="val 1152"/>
            </a:avLst>
          </a:prstGeom>
          <a:noFill/>
          <a:extLst/>
        </p:spPr>
      </p:pic>
      <p:sp>
        <p:nvSpPr>
          <p:cNvPr id="22" name="Shape 187"/>
          <p:cNvSpPr/>
          <p:nvPr/>
        </p:nvSpPr>
        <p:spPr>
          <a:xfrm>
            <a:off x="2636044" y="2343150"/>
            <a:ext cx="1816894" cy="877491"/>
          </a:xfrm>
          <a:prstGeom prst="rect">
            <a:avLst/>
          </a:prstGeom>
          <a:ln w="12700">
            <a:miter lim="400000"/>
          </a:ln>
          <a:extLst>
            <a:ext uri="{C572A759-6A51-4108-AA02-DFA0A04FC94B}"/>
          </a:extLst>
        </p:spPr>
        <p:txBody>
          <a:bodyPr lIns="0" tIns="0" rIns="0" bIns="0"/>
          <a:lstStyle/>
          <a:p>
            <a:pPr defTabSz="685800" eaLnBrk="0" hangingPunct="0">
              <a:lnSpc>
                <a:spcPct val="120000"/>
              </a:lnSpc>
              <a:defRPr/>
            </a:pPr>
            <a:r>
              <a:rPr kumimoji="1" lang="en-US" sz="1050" b="1" kern="0" dirty="0">
                <a:solidFill>
                  <a:schemeClr val="tx2">
                    <a:lumMod val="75000"/>
                  </a:schemeClr>
                </a:solidFill>
                <a:latin typeface="Arial"/>
                <a:ea typeface="Arial"/>
                <a:cs typeface="Arial"/>
                <a:sym typeface="Arial"/>
              </a:rPr>
              <a:t>Ingestion of over 60 different types of data, output of </a:t>
            </a:r>
            <a:r>
              <a:rPr kumimoji="1" lang="en-US" sz="1050" b="1" kern="0" dirty="0" err="1">
                <a:solidFill>
                  <a:schemeClr val="tx2">
                    <a:lumMod val="75000"/>
                  </a:schemeClr>
                </a:solidFill>
                <a:latin typeface="Arial"/>
                <a:ea typeface="Arial"/>
                <a:cs typeface="Arial"/>
                <a:sym typeface="Arial"/>
              </a:rPr>
              <a:t>ag</a:t>
            </a:r>
            <a:r>
              <a:rPr kumimoji="1" lang="en-US" sz="1050" b="1" kern="0" dirty="0">
                <a:solidFill>
                  <a:schemeClr val="tx2">
                    <a:lumMod val="75000"/>
                  </a:schemeClr>
                </a:solidFill>
                <a:latin typeface="Arial"/>
                <a:ea typeface="Arial"/>
                <a:cs typeface="Arial"/>
                <a:sym typeface="Arial"/>
              </a:rPr>
              <a:t> related variables including soil variables, both near-term and seasonal forecast</a:t>
            </a:r>
          </a:p>
        </p:txBody>
      </p:sp>
      <p:sp>
        <p:nvSpPr>
          <p:cNvPr id="23" name="Shape 187"/>
          <p:cNvSpPr/>
          <p:nvPr/>
        </p:nvSpPr>
        <p:spPr>
          <a:xfrm>
            <a:off x="4792266" y="2343150"/>
            <a:ext cx="1816894" cy="877491"/>
          </a:xfrm>
          <a:prstGeom prst="rect">
            <a:avLst/>
          </a:prstGeom>
          <a:ln w="12700">
            <a:miter lim="400000"/>
          </a:ln>
          <a:extLst>
            <a:ext uri="{C572A759-6A51-4108-AA02-DFA0A04FC94B}"/>
          </a:extLst>
        </p:spPr>
        <p:txBody>
          <a:bodyPr lIns="0" tIns="0" rIns="0" bIns="0"/>
          <a:lstStyle/>
          <a:p>
            <a:pPr defTabSz="685800" eaLnBrk="0" hangingPunct="0">
              <a:lnSpc>
                <a:spcPct val="120000"/>
              </a:lnSpc>
              <a:defRPr/>
            </a:pPr>
            <a:r>
              <a:rPr kumimoji="1" lang="en-US" sz="1050" b="1" kern="0" dirty="0">
                <a:solidFill>
                  <a:schemeClr val="tx2">
                    <a:lumMod val="75000"/>
                  </a:schemeClr>
                </a:solidFill>
                <a:latin typeface="Arial"/>
                <a:ea typeface="Arial"/>
                <a:cs typeface="Arial"/>
                <a:sym typeface="Arial"/>
              </a:rPr>
              <a:t>Global coverage at 500m resolution out 15 days hourly &amp; updated every 15 minutes for 2.2 billion locations</a:t>
            </a:r>
          </a:p>
        </p:txBody>
      </p:sp>
      <p:sp>
        <p:nvSpPr>
          <p:cNvPr id="24" name="Shape 187"/>
          <p:cNvSpPr/>
          <p:nvPr/>
        </p:nvSpPr>
        <p:spPr>
          <a:xfrm>
            <a:off x="6931819" y="2343150"/>
            <a:ext cx="1816894" cy="877491"/>
          </a:xfrm>
          <a:prstGeom prst="rect">
            <a:avLst/>
          </a:prstGeom>
          <a:ln w="12700">
            <a:miter lim="400000"/>
          </a:ln>
          <a:extLst>
            <a:ext uri="{C572A759-6A51-4108-AA02-DFA0A04FC94B}"/>
          </a:extLst>
        </p:spPr>
        <p:txBody>
          <a:bodyPr lIns="0" tIns="0" rIns="0" bIns="0">
            <a:normAutofit/>
          </a:bodyPr>
          <a:lstStyle/>
          <a:p>
            <a:pPr defTabSz="685800" eaLnBrk="0" hangingPunct="0">
              <a:lnSpc>
                <a:spcPct val="120000"/>
              </a:lnSpc>
              <a:defRPr/>
            </a:pPr>
            <a:r>
              <a:rPr kumimoji="1" lang="en-US" sz="1050" b="1" kern="0" dirty="0">
                <a:solidFill>
                  <a:schemeClr val="tx2">
                    <a:lumMod val="75000"/>
                  </a:schemeClr>
                </a:solidFill>
                <a:latin typeface="Arial"/>
                <a:ea typeface="Arial"/>
                <a:cs typeface="Arial"/>
                <a:sym typeface="Arial"/>
              </a:rPr>
              <a:t>Unlock the advantage of</a:t>
            </a:r>
          </a:p>
          <a:p>
            <a:pPr defTabSz="685800" eaLnBrk="0" hangingPunct="0">
              <a:lnSpc>
                <a:spcPct val="120000"/>
              </a:lnSpc>
              <a:defRPr/>
            </a:pPr>
            <a:r>
              <a:rPr kumimoji="1" lang="en-US" sz="1050" b="1" kern="0" dirty="0">
                <a:solidFill>
                  <a:schemeClr val="tx2">
                    <a:lumMod val="75000"/>
                  </a:schemeClr>
                </a:solidFill>
                <a:latin typeface="Arial"/>
                <a:ea typeface="Arial"/>
                <a:cs typeface="Arial"/>
                <a:sym typeface="Arial"/>
              </a:rPr>
              <a:t>consumer insight &amp; consumer emotion with SLA level platform</a:t>
            </a:r>
          </a:p>
        </p:txBody>
      </p:sp>
      <p:pic>
        <p:nvPicPr>
          <p:cNvPr id="14356" name="Picture 3" descr="[$3187A9BF3AEAB978.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92266" y="3420666"/>
            <a:ext cx="977503" cy="577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7" name="Picture 2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855119" y="3552825"/>
            <a:ext cx="647700" cy="369094"/>
          </a:xfrm>
          <a:prstGeom prst="rect">
            <a:avLst/>
          </a:prstGeom>
          <a:noFill/>
          <a:ln w="12700">
            <a:solidFill>
              <a:srgbClr val="FFFFFF"/>
            </a:solidFill>
            <a:miter lim="800000"/>
            <a:headEnd/>
            <a:tailEnd/>
          </a:ln>
          <a:extLst>
            <a:ext uri="{909E8E84-426E-40DD-AFC4-6F175D3DCCD1}">
              <a14:hiddenFill xmlns:a14="http://schemas.microsoft.com/office/drawing/2010/main">
                <a:solidFill>
                  <a:schemeClr val="accent1"/>
                </a:solidFill>
              </a14:hiddenFill>
            </a:ext>
          </a:extLst>
        </p:spPr>
      </p:pic>
      <p:pic>
        <p:nvPicPr>
          <p:cNvPr id="27" name="Picture 5" descr="[$50EC3A8DE1277382.jpg]"/>
          <p:cNvPicPr>
            <a:picLocks noChangeAspect="1" noChangeArrowheads="1"/>
          </p:cNvPicPr>
          <p:nvPr/>
        </p:nvPicPr>
        <p:blipFill>
          <a:blip r:embed="rId9"/>
          <a:srcRect/>
          <a:stretch>
            <a:fillRect/>
          </a:stretch>
        </p:blipFill>
        <p:spPr bwMode="auto">
          <a:xfrm>
            <a:off x="5584031" y="3601641"/>
            <a:ext cx="985838" cy="741759"/>
          </a:xfrm>
          <a:prstGeom prst="rect">
            <a:avLst/>
          </a:prstGeom>
          <a:noFill/>
          <a:ln w="9525">
            <a:solidFill>
              <a:schemeClr val="bg1">
                <a:lumMod val="95000"/>
              </a:schemeClr>
            </a:solidFill>
            <a:miter lim="800000"/>
            <a:headEnd/>
            <a:tailEnd/>
          </a:ln>
          <a:extLst>
            <a:ext uri="{909E8E84-426E-40DD-AFC4-6F175D3DCCD1}">
              <a14:hiddenFill xmlns:a14="http://schemas.microsoft.com/office/drawing/2010/main">
                <a:solidFill>
                  <a:srgbClr val="FFFFFF"/>
                </a:solidFill>
              </a14:hiddenFill>
            </a:ext>
          </a:extLst>
        </p:spPr>
      </p:pic>
      <p:pic>
        <p:nvPicPr>
          <p:cNvPr id="14359" name="Picture 1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598069" y="3971925"/>
            <a:ext cx="672704" cy="370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60" name="Picture 1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598069" y="3552825"/>
            <a:ext cx="672704" cy="371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61" name="Picture 1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855119" y="3971926"/>
            <a:ext cx="647700" cy="3845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62" name="Picture 14"/>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6991350" y="3448050"/>
            <a:ext cx="779860" cy="692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3" name="Picture 10" descr="http://www.ibm.com/smarterplanet/jp/ja/ibmwatson/assets/img/og/sns_Watson_Icon_1200x630.png"/>
          <p:cNvPicPr>
            <a:picLocks noChangeAspect="1" noChangeArrowheads="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15237" y="3368279"/>
            <a:ext cx="1528763" cy="801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lus 4"/>
          <p:cNvSpPr/>
          <p:nvPr/>
        </p:nvSpPr>
        <p:spPr bwMode="auto">
          <a:xfrm>
            <a:off x="7840266" y="3686175"/>
            <a:ext cx="179784" cy="185738"/>
          </a:xfrm>
          <a:prstGeom prst="mathPlus">
            <a:avLst/>
          </a:prstGeom>
          <a:solidFill>
            <a:srgbClr val="4FA0D8"/>
          </a:solidFill>
          <a:ln w="9525" cap="flat" cmpd="sng" algn="ctr">
            <a:solidFill>
              <a:schemeClr val="bg1">
                <a:lumMod val="50000"/>
              </a:schemeClr>
            </a:solidFill>
            <a:prstDash val="solid"/>
            <a:round/>
            <a:headEnd type="none" w="med" len="med"/>
            <a:tailEnd type="none" w="med" len="med"/>
          </a:ln>
          <a:effectLst/>
        </p:spPr>
        <p:txBody>
          <a:bodyPr/>
          <a:lstStyle/>
          <a:p>
            <a:pPr algn="ctr" defTabSz="685800" fontAlgn="base">
              <a:spcBef>
                <a:spcPct val="0"/>
              </a:spcBef>
              <a:spcAft>
                <a:spcPct val="0"/>
              </a:spcAft>
              <a:defRPr/>
            </a:pPr>
            <a:endParaRPr lang="en-US" sz="825" dirty="0">
              <a:solidFill>
                <a:srgbClr val="000000"/>
              </a:solidFill>
              <a:latin typeface="Arial" panose="020B0604020202020204" pitchFamily="34" charset="0"/>
              <a:ea typeface="MS PGothic" panose="020B0600070205080204" pitchFamily="34" charset="-128"/>
              <a:cs typeface="Arial"/>
            </a:endParaRPr>
          </a:p>
        </p:txBody>
      </p:sp>
    </p:spTree>
    <p:extLst>
      <p:ext uri="{BB962C8B-B14F-4D97-AF65-F5344CB8AC3E}">
        <p14:creationId xmlns:p14="http://schemas.microsoft.com/office/powerpoint/2010/main" val="104051220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3"/>
          <p:cNvSpPr>
            <a:spLocks noGrp="1"/>
          </p:cNvSpPr>
          <p:nvPr>
            <p:ph type="title"/>
          </p:nvPr>
        </p:nvSpPr>
        <p:spPr>
          <a:xfrm>
            <a:off x="381000" y="187325"/>
            <a:ext cx="8763000" cy="609600"/>
          </a:xfrm>
        </p:spPr>
        <p:txBody>
          <a:bodyPr/>
          <a:lstStyle/>
          <a:p>
            <a:pPr eaLnBrk="1" hangingPunct="1"/>
            <a:r>
              <a:rPr lang="en-US" altLang="en-US" sz="2400" dirty="0"/>
              <a:t>Our Story is About Data at Scale: </a:t>
            </a:r>
            <a:r>
              <a:rPr lang="en-US" altLang="en-US" sz="2400" dirty="0">
                <a:solidFill>
                  <a:schemeClr val="bg1">
                    <a:lumMod val="75000"/>
                  </a:schemeClr>
                </a:solidFill>
              </a:rPr>
              <a:t>Internet of Things</a:t>
            </a:r>
          </a:p>
        </p:txBody>
      </p:sp>
      <p:grpSp>
        <p:nvGrpSpPr>
          <p:cNvPr id="28675" name="Group 8"/>
          <p:cNvGrpSpPr>
            <a:grpSpLocks/>
          </p:cNvGrpSpPr>
          <p:nvPr/>
        </p:nvGrpSpPr>
        <p:grpSpPr bwMode="auto">
          <a:xfrm>
            <a:off x="4495800" y="898525"/>
            <a:ext cx="1752600" cy="1828800"/>
            <a:chOff x="3733800" y="1504950"/>
            <a:chExt cx="1752600" cy="1828800"/>
          </a:xfrm>
        </p:grpSpPr>
        <p:sp>
          <p:nvSpPr>
            <p:cNvPr id="10" name="Rectangle 9"/>
            <p:cNvSpPr/>
            <p:nvPr/>
          </p:nvSpPr>
          <p:spPr>
            <a:xfrm>
              <a:off x="3771900" y="1504950"/>
              <a:ext cx="1676400" cy="1817688"/>
            </a:xfrm>
            <a:prstGeom prst="rect">
              <a:avLst/>
            </a:prstGeom>
            <a:noFill/>
            <a:ln w="19050" cmpd="sng">
              <a:solidFill>
                <a:srgbClr val="F08D3D"/>
              </a:solid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pic>
          <p:nvPicPr>
            <p:cNvPr id="28696" name="Picture 10"/>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91000" y="1657350"/>
              <a:ext cx="76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6"/>
            <p:cNvSpPr txBox="1">
              <a:spLocks/>
            </p:cNvSpPr>
            <p:nvPr/>
          </p:nvSpPr>
          <p:spPr>
            <a:xfrm>
              <a:off x="3733800" y="2571750"/>
              <a:ext cx="1752600" cy="762000"/>
            </a:xfrm>
            <a:prstGeom prst="rect">
              <a:avLst/>
            </a:prstGeom>
            <a:effectLst/>
          </p:spPr>
          <p:txBody>
            <a:bodyPr>
              <a:normAutofit lnSpcReduction="10000"/>
            </a:bodyPr>
            <a:lstStyle>
              <a:lvl1pPr marL="0" indent="0" algn="l" defTabSz="914400" rtl="0" eaLnBrk="1" latinLnBrk="0" hangingPunct="1">
                <a:lnSpc>
                  <a:spcPct val="90000"/>
                </a:lnSpc>
                <a:spcBef>
                  <a:spcPts val="1200"/>
                </a:spcBef>
                <a:spcAft>
                  <a:spcPts val="600"/>
                </a:spcAft>
                <a:buFont typeface="Arial" panose="020B0604020202020204" pitchFamily="34" charset="0"/>
                <a:buNone/>
                <a:defRPr sz="2600" b="1"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1pPr>
              <a:lvl2pPr marL="341313" indent="-287338" algn="l" defTabSz="914400" rtl="0" eaLnBrk="1" latinLnBrk="0" hangingPunct="1">
                <a:lnSpc>
                  <a:spcPct val="90000"/>
                </a:lnSpc>
                <a:spcBef>
                  <a:spcPts val="600"/>
                </a:spcBef>
                <a:spcAft>
                  <a:spcPts val="300"/>
                </a:spcAft>
                <a:buClr>
                  <a:schemeClr val="accent3"/>
                </a:buClr>
                <a:buFont typeface="Wingdings" panose="05000000000000000000" pitchFamily="2" charset="2"/>
                <a:buChar char="§"/>
                <a:defRPr sz="24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2pPr>
              <a:lvl3pPr marL="688975" indent="-285750" algn="l" defTabSz="914400" rtl="0" eaLnBrk="1" latinLnBrk="0" hangingPunct="1">
                <a:lnSpc>
                  <a:spcPct val="90000"/>
                </a:lnSpc>
                <a:spcBef>
                  <a:spcPts val="300"/>
                </a:spcBef>
                <a:spcAft>
                  <a:spcPts val="300"/>
                </a:spcAft>
                <a:buClr>
                  <a:schemeClr val="accent2"/>
                </a:buClr>
                <a:buFont typeface="Arial" panose="020B0604020202020204" pitchFamily="34" charset="0"/>
                <a:buChar char="‒"/>
                <a:defRPr sz="22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ts val="600"/>
                </a:spcAft>
                <a:buClrTx/>
                <a:buSzTx/>
                <a:buFont typeface="Arial" panose="020B0604020202020204" pitchFamily="34" charset="0"/>
                <a:buNone/>
                <a:tabLst/>
                <a:defRPr/>
              </a:pPr>
              <a:r>
                <a:rPr kumimoji="0" lang="en-US" altLang="en-US" sz="15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mospheric data from </a:t>
              </a:r>
              <a:r>
                <a:rPr kumimoji="0" lang="en-US" altLang="en-US" sz="1700" b="1" i="0" u="none" strike="noStrike" kern="1200" cap="none" spc="0" normalizeH="0" baseline="0" noProof="0" dirty="0">
                  <a:ln>
                    <a:noFill/>
                  </a:ln>
                  <a:solidFill>
                    <a:srgbClr val="F08D3D"/>
                  </a:solidFill>
                  <a:effectLst/>
                  <a:uLnTx/>
                  <a:uFillTx/>
                  <a:latin typeface="Arial" panose="020B0604020202020204" pitchFamily="34" charset="0"/>
                  <a:ea typeface="+mn-ea"/>
                  <a:cs typeface="Arial" panose="020B0604020202020204" pitchFamily="34" charset="0"/>
                </a:rPr>
                <a:t>50,000 </a:t>
              </a:r>
              <a:r>
                <a:rPr kumimoji="0" lang="en-US" alt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lights</a:t>
              </a:r>
              <a:r>
                <a:rPr kumimoji="0" lang="en-US" alt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alt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er day</a:t>
              </a:r>
            </a:p>
          </p:txBody>
        </p:sp>
      </p:grpSp>
      <p:grpSp>
        <p:nvGrpSpPr>
          <p:cNvPr id="28676" name="Group 13"/>
          <p:cNvGrpSpPr>
            <a:grpSpLocks/>
          </p:cNvGrpSpPr>
          <p:nvPr/>
        </p:nvGrpSpPr>
        <p:grpSpPr bwMode="auto">
          <a:xfrm>
            <a:off x="6459538" y="898525"/>
            <a:ext cx="1695450" cy="1828800"/>
            <a:chOff x="1962150" y="1504950"/>
            <a:chExt cx="1695450" cy="1828800"/>
          </a:xfrm>
        </p:grpSpPr>
        <p:sp>
          <p:nvSpPr>
            <p:cNvPr id="15" name="Rectangle 14"/>
            <p:cNvSpPr/>
            <p:nvPr/>
          </p:nvSpPr>
          <p:spPr>
            <a:xfrm>
              <a:off x="1962150" y="1504950"/>
              <a:ext cx="1676400" cy="1817688"/>
            </a:xfrm>
            <a:prstGeom prst="rect">
              <a:avLst/>
            </a:prstGeom>
            <a:noFill/>
            <a:ln w="19050" cmpd="sng">
              <a:solidFill>
                <a:srgbClr val="F08D3D"/>
              </a:solid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 name="Content Placeholder 6"/>
            <p:cNvSpPr txBox="1">
              <a:spLocks/>
            </p:cNvSpPr>
            <p:nvPr/>
          </p:nvSpPr>
          <p:spPr>
            <a:xfrm>
              <a:off x="1981200" y="2503488"/>
              <a:ext cx="1676400" cy="830262"/>
            </a:xfrm>
            <a:prstGeom prst="rect">
              <a:avLst/>
            </a:prstGeom>
          </p:spPr>
          <p:txBody>
            <a:bodyPr>
              <a:normAutofit fontScale="92500"/>
            </a:bodyPr>
            <a:lstStyle>
              <a:lvl1pPr marL="0" indent="0" algn="l" defTabSz="914400" rtl="0" eaLnBrk="1" latinLnBrk="0" hangingPunct="1">
                <a:lnSpc>
                  <a:spcPct val="90000"/>
                </a:lnSpc>
                <a:spcBef>
                  <a:spcPts val="1200"/>
                </a:spcBef>
                <a:spcAft>
                  <a:spcPts val="600"/>
                </a:spcAft>
                <a:buFont typeface="Arial" panose="020B0604020202020204" pitchFamily="34" charset="0"/>
                <a:buNone/>
                <a:defRPr sz="2600" b="1"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1pPr>
              <a:lvl2pPr marL="341313" indent="-287338" algn="l" defTabSz="914400" rtl="0" eaLnBrk="1" latinLnBrk="0" hangingPunct="1">
                <a:lnSpc>
                  <a:spcPct val="90000"/>
                </a:lnSpc>
                <a:spcBef>
                  <a:spcPts val="600"/>
                </a:spcBef>
                <a:spcAft>
                  <a:spcPts val="300"/>
                </a:spcAft>
                <a:buClr>
                  <a:schemeClr val="accent3"/>
                </a:buClr>
                <a:buFont typeface="Wingdings" panose="05000000000000000000" pitchFamily="2" charset="2"/>
                <a:buChar char="§"/>
                <a:defRPr sz="24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2pPr>
              <a:lvl3pPr marL="688975" indent="-285750" algn="l" defTabSz="914400" rtl="0" eaLnBrk="1" latinLnBrk="0" hangingPunct="1">
                <a:lnSpc>
                  <a:spcPct val="90000"/>
                </a:lnSpc>
                <a:spcBef>
                  <a:spcPts val="300"/>
                </a:spcBef>
                <a:spcAft>
                  <a:spcPts val="300"/>
                </a:spcAft>
                <a:buClr>
                  <a:schemeClr val="accent2"/>
                </a:buClr>
                <a:buFont typeface="Arial" panose="020B0604020202020204" pitchFamily="34" charset="0"/>
                <a:buChar char="‒"/>
                <a:defRPr sz="22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1700" b="1" i="0" u="none" strike="noStrike" kern="1200" cap="none" spc="0" normalizeH="0" baseline="0" noProof="0" dirty="0">
                  <a:ln>
                    <a:noFill/>
                  </a:ln>
                  <a:solidFill>
                    <a:srgbClr val="F08D3D"/>
                  </a:solidFill>
                  <a:effectLst/>
                  <a:uLnTx/>
                  <a:uFillTx/>
                  <a:latin typeface="Arial" panose="020B0604020202020204" pitchFamily="34" charset="0"/>
                  <a:ea typeface="+mn-ea"/>
                  <a:cs typeface="Arial" panose="020B0604020202020204" pitchFamily="34" charset="0"/>
                </a:rPr>
                <a:t>15 Million</a:t>
              </a:r>
            </a:p>
            <a:p>
              <a:pPr marL="0" marR="0" lvl="0" indent="0" algn="ctr" defTabSz="914400" rtl="0" eaLnBrk="1" fontAlgn="auto" latinLnBrk="0" hangingPunct="1">
                <a:lnSpc>
                  <a:spcPct val="100000"/>
                </a:lnSpc>
                <a:spcBef>
                  <a:spcPct val="0"/>
                </a:spcBef>
                <a:spcAft>
                  <a:spcPts val="60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essures reading from mobile devices </a:t>
              </a:r>
            </a:p>
          </p:txBody>
        </p:sp>
        <p:pic>
          <p:nvPicPr>
            <p:cNvPr id="28694" name="Picture 16" descr="Mobile.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86000" y="1581150"/>
              <a:ext cx="990600" cy="88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677" name="Group 17"/>
          <p:cNvGrpSpPr>
            <a:grpSpLocks/>
          </p:cNvGrpSpPr>
          <p:nvPr/>
        </p:nvGrpSpPr>
        <p:grpSpPr bwMode="auto">
          <a:xfrm>
            <a:off x="800100" y="903288"/>
            <a:ext cx="1731963" cy="1897062"/>
            <a:chOff x="5562600" y="1504950"/>
            <a:chExt cx="1730866" cy="1897229"/>
          </a:xfrm>
        </p:grpSpPr>
        <p:sp>
          <p:nvSpPr>
            <p:cNvPr id="19" name="Rectangle 18"/>
            <p:cNvSpPr/>
            <p:nvPr/>
          </p:nvSpPr>
          <p:spPr>
            <a:xfrm>
              <a:off x="5581638" y="1504950"/>
              <a:ext cx="1676925" cy="1817847"/>
            </a:xfrm>
            <a:prstGeom prst="rect">
              <a:avLst/>
            </a:prstGeom>
            <a:noFill/>
            <a:ln w="19050" cmpd="sng">
              <a:solidFill>
                <a:srgbClr val="F08D3D"/>
              </a:solid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690" name="Content Placeholder 6"/>
            <p:cNvSpPr txBox="1">
              <a:spLocks/>
            </p:cNvSpPr>
            <p:nvPr/>
          </p:nvSpPr>
          <p:spPr bwMode="auto">
            <a:xfrm>
              <a:off x="5562600" y="2571750"/>
              <a:ext cx="1730866" cy="830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2800" b="1">
                  <a:solidFill>
                    <a:srgbClr val="1B2F7C"/>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400">
                  <a:solidFill>
                    <a:srgbClr val="4D4D4D"/>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sz="2000">
                  <a:solidFill>
                    <a:srgbClr val="4D4D4D"/>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a:solidFill>
                    <a:srgbClr val="4D4D4D"/>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rgbClr val="4D4D4D"/>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rgbClr val="4D4D4D"/>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rgbClr val="4D4D4D"/>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rgbClr val="4D4D4D"/>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rgbClr val="4D4D4D"/>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ct val="0"/>
                </a:spcBef>
                <a:spcAft>
                  <a:spcPts val="600"/>
                </a:spcAft>
                <a:buClrTx/>
                <a:buSzTx/>
                <a:buFont typeface="Arial" panose="020B0604020202020204" pitchFamily="34" charset="0"/>
                <a:buNone/>
                <a:tabLst/>
                <a:defRPr/>
              </a:pPr>
              <a:r>
                <a:rPr kumimoji="0" lang="en-US" altLang="en-US" sz="1700" b="1" i="0" u="none" strike="noStrike" kern="0" cap="none" spc="0" normalizeH="0" baseline="0" noProof="0">
                  <a:ln>
                    <a:noFill/>
                  </a:ln>
                  <a:solidFill>
                    <a:srgbClr val="F08D3D"/>
                  </a:solidFill>
                  <a:effectLst/>
                  <a:uLnTx/>
                  <a:uFillTx/>
                  <a:latin typeface="Arial" panose="020B0604020202020204" pitchFamily="34" charset="0"/>
                  <a:cs typeface="Arial" panose="020B0604020202020204" pitchFamily="34" charset="0"/>
                </a:rPr>
                <a:t>&gt;200,000 </a:t>
              </a:r>
              <a:r>
                <a:rPr kumimoji="0" lang="en-US" altLang="en-US" sz="14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personal weather stations</a:t>
              </a:r>
            </a:p>
          </p:txBody>
        </p:sp>
        <p:pic>
          <p:nvPicPr>
            <p:cNvPr id="28691" name="Picture 20" descr="Cirrus.eps"/>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67400" y="1733550"/>
              <a:ext cx="996950" cy="664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678" name="Group 21"/>
          <p:cNvGrpSpPr>
            <a:grpSpLocks/>
          </p:cNvGrpSpPr>
          <p:nvPr/>
        </p:nvGrpSpPr>
        <p:grpSpPr bwMode="auto">
          <a:xfrm>
            <a:off x="2646363" y="903288"/>
            <a:ext cx="1676400" cy="1817687"/>
            <a:chOff x="7391400" y="1504950"/>
            <a:chExt cx="1676400" cy="1818428"/>
          </a:xfrm>
        </p:grpSpPr>
        <p:sp>
          <p:nvSpPr>
            <p:cNvPr id="23" name="Content Placeholder 6"/>
            <p:cNvSpPr txBox="1">
              <a:spLocks/>
            </p:cNvSpPr>
            <p:nvPr/>
          </p:nvSpPr>
          <p:spPr>
            <a:xfrm>
              <a:off x="7481887" y="2419723"/>
              <a:ext cx="1495425" cy="838542"/>
            </a:xfrm>
            <a:prstGeom prst="rect">
              <a:avLst/>
            </a:prstGeom>
          </p:spPr>
          <p:txBody>
            <a:bodyPr>
              <a:normAutofit fontScale="70000" lnSpcReduction="20000"/>
            </a:bodyPr>
            <a:lstStyle>
              <a:lvl1pPr marL="0" indent="0" algn="l" defTabSz="914400" rtl="0" eaLnBrk="1" latinLnBrk="0" hangingPunct="1">
                <a:lnSpc>
                  <a:spcPct val="90000"/>
                </a:lnSpc>
                <a:spcBef>
                  <a:spcPts val="1200"/>
                </a:spcBef>
                <a:spcAft>
                  <a:spcPts val="600"/>
                </a:spcAft>
                <a:buFont typeface="Arial" panose="020B0604020202020204" pitchFamily="34" charset="0"/>
                <a:buNone/>
                <a:defRPr sz="2600" b="1"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1pPr>
              <a:lvl2pPr marL="341313" indent="-287338" algn="l" defTabSz="914400" rtl="0" eaLnBrk="1" latinLnBrk="0" hangingPunct="1">
                <a:lnSpc>
                  <a:spcPct val="90000"/>
                </a:lnSpc>
                <a:spcBef>
                  <a:spcPts val="600"/>
                </a:spcBef>
                <a:spcAft>
                  <a:spcPts val="300"/>
                </a:spcAft>
                <a:buClr>
                  <a:schemeClr val="accent3"/>
                </a:buClr>
                <a:buFont typeface="Wingdings" panose="05000000000000000000" pitchFamily="2" charset="2"/>
                <a:buChar char="§"/>
                <a:defRPr sz="24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2pPr>
              <a:lvl3pPr marL="688975" indent="-285750" algn="l" defTabSz="914400" rtl="0" eaLnBrk="1" latinLnBrk="0" hangingPunct="1">
                <a:lnSpc>
                  <a:spcPct val="90000"/>
                </a:lnSpc>
                <a:spcBef>
                  <a:spcPts val="300"/>
                </a:spcBef>
                <a:spcAft>
                  <a:spcPts val="300"/>
                </a:spcAft>
                <a:buClr>
                  <a:schemeClr val="accent2"/>
                </a:buClr>
                <a:buFont typeface="Arial" panose="020B0604020202020204" pitchFamily="34" charset="0"/>
                <a:buChar char="‒"/>
                <a:defRPr sz="22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ts val="600"/>
                </a:spcAft>
                <a:buClrTx/>
                <a:buSzTx/>
                <a:buFont typeface="Arial" panose="020B0604020202020204" pitchFamily="34" charset="0"/>
                <a:buNone/>
                <a:tabLst/>
                <a:defRPr/>
              </a:pPr>
              <a:r>
                <a:rPr kumimoji="0" lang="en-US" altLang="en-US" sz="2100" b="1" i="0" u="none" strike="noStrike" kern="1200" cap="none" spc="0" normalizeH="0" baseline="0" noProof="0" dirty="0">
                  <a:ln>
                    <a:noFill/>
                  </a:ln>
                  <a:solidFill>
                    <a:srgbClr val="F08D3D"/>
                  </a:solidFill>
                  <a:effectLst/>
                  <a:uLnTx/>
                  <a:uFillTx/>
                  <a:latin typeface="Arial" panose="020B0604020202020204" pitchFamily="34" charset="0"/>
                  <a:ea typeface="+mn-ea"/>
                  <a:cs typeface="Arial" panose="020B0604020202020204" pitchFamily="34" charset="0"/>
                </a:rPr>
                <a:t>162 forecast models  </a:t>
              </a:r>
            </a:p>
            <a:p>
              <a:pPr marL="0" marR="0" lvl="0" indent="0" algn="ctr" defTabSz="914400" rtl="0" eaLnBrk="1" fontAlgn="auto" latinLnBrk="0" hangingPunct="1">
                <a:lnSpc>
                  <a:spcPct val="100000"/>
                </a:lnSpc>
                <a:spcBef>
                  <a:spcPct val="0"/>
                </a:spcBef>
                <a:spcAft>
                  <a:spcPts val="600"/>
                </a:spcAft>
                <a:buClrTx/>
                <a:buSzTx/>
                <a:buFont typeface="Arial" panose="020B0604020202020204" pitchFamily="34" charset="0"/>
                <a:buNone/>
                <a:tabLst/>
                <a:defRPr/>
              </a:pPr>
              <a:r>
                <a:rPr kumimoji="0" lang="en-US" altLang="en-US" sz="17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serve as inputs to our forecast </a:t>
              </a:r>
            </a:p>
          </p:txBody>
        </p:sp>
        <p:sp>
          <p:nvSpPr>
            <p:cNvPr id="24" name="Rectangle 23"/>
            <p:cNvSpPr/>
            <p:nvPr/>
          </p:nvSpPr>
          <p:spPr>
            <a:xfrm>
              <a:off x="7391400" y="1504950"/>
              <a:ext cx="1676400" cy="1818428"/>
            </a:xfrm>
            <a:prstGeom prst="rect">
              <a:avLst/>
            </a:prstGeom>
            <a:noFill/>
            <a:ln w="19050" cmpd="sng">
              <a:solidFill>
                <a:srgbClr val="F08D3D"/>
              </a:solid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pic>
          <p:nvPicPr>
            <p:cNvPr id="28688" name="Picture 24" descr="MetIcon.eps"/>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48600" y="1657350"/>
              <a:ext cx="693836" cy="73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6" name="Content Placeholder 6"/>
          <p:cNvSpPr txBox="1">
            <a:spLocks/>
          </p:cNvSpPr>
          <p:nvPr/>
        </p:nvSpPr>
        <p:spPr>
          <a:xfrm>
            <a:off x="1066800" y="3113088"/>
            <a:ext cx="2133600" cy="762000"/>
          </a:xfrm>
          <a:prstGeom prst="rect">
            <a:avLst/>
          </a:prstGeom>
          <a:effectLst/>
        </p:spPr>
        <p:txBody>
          <a:bodyPr/>
          <a:lstStyle>
            <a:lvl1pPr marL="0" indent="0" algn="l" defTabSz="914400" rtl="0" eaLnBrk="1" latinLnBrk="0" hangingPunct="1">
              <a:lnSpc>
                <a:spcPct val="90000"/>
              </a:lnSpc>
              <a:spcBef>
                <a:spcPts val="1200"/>
              </a:spcBef>
              <a:spcAft>
                <a:spcPts val="600"/>
              </a:spcAft>
              <a:buFont typeface="Arial" panose="020B0604020202020204" pitchFamily="34" charset="0"/>
              <a:buNone/>
              <a:defRPr sz="2600" b="1"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1pPr>
            <a:lvl2pPr marL="341313" indent="-287338" algn="l" defTabSz="914400" rtl="0" eaLnBrk="1" latinLnBrk="0" hangingPunct="1">
              <a:lnSpc>
                <a:spcPct val="90000"/>
              </a:lnSpc>
              <a:spcBef>
                <a:spcPts val="600"/>
              </a:spcBef>
              <a:spcAft>
                <a:spcPts val="300"/>
              </a:spcAft>
              <a:buClr>
                <a:schemeClr val="accent3"/>
              </a:buClr>
              <a:buFont typeface="Wingdings" panose="05000000000000000000" pitchFamily="2" charset="2"/>
              <a:buChar char="§"/>
              <a:defRPr sz="24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2pPr>
            <a:lvl3pPr marL="688975" indent="-285750" algn="l" defTabSz="914400" rtl="0" eaLnBrk="1" latinLnBrk="0" hangingPunct="1">
              <a:lnSpc>
                <a:spcPct val="90000"/>
              </a:lnSpc>
              <a:spcBef>
                <a:spcPts val="300"/>
              </a:spcBef>
              <a:spcAft>
                <a:spcPts val="300"/>
              </a:spcAft>
              <a:buClr>
                <a:schemeClr val="accent2"/>
              </a:buClr>
              <a:buFont typeface="Arial" panose="020B0604020202020204" pitchFamily="34" charset="0"/>
              <a:buChar char="‒"/>
              <a:defRPr sz="22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60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srgbClr val="F08F3E"/>
                </a:solidFill>
                <a:effectLst/>
                <a:uLnTx/>
                <a:uFillTx/>
                <a:latin typeface="Arial" panose="020B0604020202020204" pitchFamily="34" charset="0"/>
                <a:ea typeface="+mn-ea"/>
                <a:cs typeface="Arial" panose="020B0604020202020204" pitchFamily="34" charset="0"/>
              </a:rPr>
              <a:t>Precision</a:t>
            </a:r>
            <a:r>
              <a:rPr kumimoji="0" lang="en-US" altLang="en-US" sz="1800" b="1" i="0" u="none" strike="noStrike" kern="1200" cap="none" spc="0" normalizeH="0" baseline="0" noProof="0" dirty="0">
                <a:ln>
                  <a:noFill/>
                </a:ln>
                <a:solidFill>
                  <a:srgbClr val="F08D3D"/>
                </a:solidFill>
                <a:effectLst/>
                <a:uLnTx/>
                <a:uFillTx/>
                <a:latin typeface="Arial" panose="020B0604020202020204" pitchFamily="34" charset="0"/>
                <a:ea typeface="+mn-ea"/>
                <a:cs typeface="Arial" panose="020B0604020202020204" pitchFamily="34" charset="0"/>
              </a:rPr>
              <a:t/>
            </a:r>
            <a:br>
              <a:rPr kumimoji="0" lang="en-US" altLang="en-US" sz="1800" b="1" i="0" u="none" strike="noStrike" kern="1200" cap="none" spc="0" normalizeH="0" baseline="0" noProof="0" dirty="0">
                <a:ln>
                  <a:noFill/>
                </a:ln>
                <a:solidFill>
                  <a:srgbClr val="F08D3D"/>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0" normalizeH="0" baseline="0" noProof="0" dirty="0">
                <a:ln>
                  <a:noFill/>
                </a:ln>
                <a:solidFill>
                  <a:srgbClr val="FFFFFF"/>
                </a:solidFill>
                <a:effectLst>
                  <a:outerShdw blurRad="63500" dist="38100" dir="2700000" algn="tl" rotWithShape="0">
                    <a:prstClr val="black">
                      <a:alpha val="30000"/>
                    </a:prstClr>
                  </a:outerShdw>
                </a:effectLst>
                <a:uLnTx/>
                <a:uFillTx/>
                <a:latin typeface="Arial"/>
                <a:ea typeface="+mn-ea"/>
                <a:cs typeface="Arial"/>
              </a:rPr>
              <a:t>100X Greater Coverage </a:t>
            </a:r>
          </a:p>
        </p:txBody>
      </p:sp>
      <p:sp>
        <p:nvSpPr>
          <p:cNvPr id="28680" name="Content Placeholder 6"/>
          <p:cNvSpPr txBox="1">
            <a:spLocks/>
          </p:cNvSpPr>
          <p:nvPr/>
        </p:nvSpPr>
        <p:spPr bwMode="auto">
          <a:xfrm>
            <a:off x="3619500" y="3113088"/>
            <a:ext cx="2057400" cy="754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2800" b="1">
                <a:solidFill>
                  <a:srgbClr val="1B2F7C"/>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400">
                <a:solidFill>
                  <a:srgbClr val="4D4D4D"/>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sz="2000">
                <a:solidFill>
                  <a:srgbClr val="4D4D4D"/>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a:solidFill>
                  <a:srgbClr val="4D4D4D"/>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rgbClr val="4D4D4D"/>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rgbClr val="4D4D4D"/>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rgbClr val="4D4D4D"/>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rgbClr val="4D4D4D"/>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rgbClr val="4D4D4D"/>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90000"/>
              </a:lnSpc>
              <a:spcBef>
                <a:spcPct val="0"/>
              </a:spcBef>
              <a:spcAft>
                <a:spcPts val="600"/>
              </a:spcAft>
              <a:buClrTx/>
              <a:buSzTx/>
              <a:buFont typeface="Arial" panose="020B0604020202020204" pitchFamily="34" charset="0"/>
              <a:buNone/>
              <a:tabLst/>
              <a:defRPr/>
            </a:pPr>
            <a:r>
              <a:rPr kumimoji="0" lang="en-US" altLang="en-US" sz="1800" b="1" i="0" u="none" strike="noStrike" kern="0" cap="none" spc="0" normalizeH="0" baseline="0" noProof="0">
                <a:ln>
                  <a:noFill/>
                </a:ln>
                <a:solidFill>
                  <a:srgbClr val="F08D3D"/>
                </a:solidFill>
                <a:effectLst/>
                <a:uLnTx/>
                <a:uFillTx/>
                <a:latin typeface="Arial" panose="020B0604020202020204" pitchFamily="34" charset="0"/>
                <a:cs typeface="Arial" panose="020B0604020202020204" pitchFamily="34" charset="0"/>
              </a:rPr>
              <a:t>Accuracy</a:t>
            </a:r>
          </a:p>
          <a:p>
            <a:pPr marL="0" marR="0" lvl="0" indent="0" algn="ctr" defTabSz="914400" eaLnBrk="1" fontAlgn="auto" latinLnBrk="0" hangingPunct="1">
              <a:lnSpc>
                <a:spcPct val="90000"/>
              </a:lnSpc>
              <a:spcBef>
                <a:spcPct val="0"/>
              </a:spcBef>
              <a:spcAft>
                <a:spcPts val="600"/>
              </a:spcAft>
              <a:buClrTx/>
              <a:buSzTx/>
              <a:buFont typeface="Arial" panose="020B0604020202020204" pitchFamily="34" charset="0"/>
              <a:buNone/>
              <a:tabLst/>
              <a:defRPr/>
            </a:pPr>
            <a:r>
              <a:rPr kumimoji="0" lang="en-US" altLang="en-US" sz="16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Rated Number One </a:t>
            </a:r>
          </a:p>
        </p:txBody>
      </p:sp>
      <p:sp>
        <p:nvSpPr>
          <p:cNvPr id="28681" name="Content Placeholder 6"/>
          <p:cNvSpPr txBox="1">
            <a:spLocks/>
          </p:cNvSpPr>
          <p:nvPr/>
        </p:nvSpPr>
        <p:spPr bwMode="auto">
          <a:xfrm>
            <a:off x="6096000" y="3113088"/>
            <a:ext cx="2133600"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2800" b="1">
                <a:solidFill>
                  <a:srgbClr val="1B2F7C"/>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400">
                <a:solidFill>
                  <a:srgbClr val="4D4D4D"/>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sz="2000">
                <a:solidFill>
                  <a:srgbClr val="4D4D4D"/>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a:solidFill>
                  <a:srgbClr val="4D4D4D"/>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rgbClr val="4D4D4D"/>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rgbClr val="4D4D4D"/>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rgbClr val="4D4D4D"/>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rgbClr val="4D4D4D"/>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rgbClr val="4D4D4D"/>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90000"/>
              </a:lnSpc>
              <a:spcBef>
                <a:spcPct val="0"/>
              </a:spcBef>
              <a:spcAft>
                <a:spcPts val="600"/>
              </a:spcAft>
              <a:buClrTx/>
              <a:buSzTx/>
              <a:buFont typeface="Arial" panose="020B0604020202020204" pitchFamily="34" charset="0"/>
              <a:buNone/>
              <a:tabLst/>
              <a:defRPr/>
            </a:pPr>
            <a:r>
              <a:rPr kumimoji="0" lang="en-US" altLang="en-US" sz="1800" b="1" i="0" u="none" strike="noStrike" kern="0" cap="none" spc="0" normalizeH="0" baseline="0" noProof="0">
                <a:ln>
                  <a:noFill/>
                </a:ln>
                <a:solidFill>
                  <a:srgbClr val="F08D3D"/>
                </a:solidFill>
                <a:effectLst/>
                <a:uLnTx/>
                <a:uFillTx/>
                <a:latin typeface="Arial" panose="020B0604020202020204" pitchFamily="34" charset="0"/>
                <a:cs typeface="Arial" panose="020B0604020202020204" pitchFamily="34" charset="0"/>
              </a:rPr>
              <a:t>Speed</a:t>
            </a:r>
          </a:p>
          <a:p>
            <a:pPr marL="0" marR="0" lvl="0" indent="0" algn="ctr" defTabSz="914400" eaLnBrk="1" fontAlgn="auto" latinLnBrk="0" hangingPunct="1">
              <a:lnSpc>
                <a:spcPct val="90000"/>
              </a:lnSpc>
              <a:spcBef>
                <a:spcPct val="0"/>
              </a:spcBef>
              <a:spcAft>
                <a:spcPts val="600"/>
              </a:spcAft>
              <a:buClrTx/>
              <a:buSzTx/>
              <a:buFont typeface="Arial" panose="020B0604020202020204" pitchFamily="34" charset="0"/>
              <a:buNone/>
              <a:tabLst/>
              <a:defRPr/>
            </a:pPr>
            <a:r>
              <a:rPr kumimoji="0" lang="en-US" altLang="en-US" sz="16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Forecast Updates every 15 Minutes </a:t>
            </a:r>
          </a:p>
        </p:txBody>
      </p:sp>
      <p:pic>
        <p:nvPicPr>
          <p:cNvPr id="28682" name="Picture 5" descr="SpeedIcon.eps"/>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565900" y="4064000"/>
            <a:ext cx="1163638" cy="67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83" name="Picture 7" descr="Accuracy.eps"/>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39900" y="4022725"/>
            <a:ext cx="725488" cy="70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84" name="Picture 8" descr="Checkmark.eps"/>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243388" y="4041775"/>
            <a:ext cx="809625"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Isosceles Triangle 1"/>
          <p:cNvSpPr/>
          <p:nvPr/>
        </p:nvSpPr>
        <p:spPr>
          <a:xfrm rot="10800000">
            <a:off x="1620838" y="2876550"/>
            <a:ext cx="5989637" cy="174625"/>
          </a:xfrm>
          <a:prstGeom prst="triangle">
            <a:avLst/>
          </a:prstGeom>
          <a:solidFill>
            <a:srgbClr val="F08F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0884623"/>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81000" y="585847"/>
            <a:ext cx="2667000" cy="1815882"/>
          </a:xfrm>
          <a:prstGeom prst="rect">
            <a:avLst/>
          </a:prstGeom>
        </p:spPr>
        <p:txBody>
          <a:bodyPr wrap="square">
            <a:spAutoFit/>
          </a:bodyPr>
          <a:lstStyle/>
          <a:p>
            <a:r>
              <a:rPr lang="en-US" sz="2800" b="1" dirty="0">
                <a:solidFill>
                  <a:schemeClr val="tx2"/>
                </a:solidFill>
                <a:latin typeface="Helvetica Neue" charset="0"/>
                <a:ea typeface="Helvetica Neue" charset="0"/>
                <a:cs typeface="Helvetica Neue" charset="0"/>
                <a:sym typeface="Arial"/>
                <a:rtl val="0"/>
              </a:rPr>
              <a:t>The Data Story is Also About Precision</a:t>
            </a:r>
          </a:p>
        </p:txBody>
      </p:sp>
      <p:sp>
        <p:nvSpPr>
          <p:cNvPr id="3" name="Rectangle 2"/>
          <p:cNvSpPr/>
          <p:nvPr/>
        </p:nvSpPr>
        <p:spPr>
          <a:xfrm>
            <a:off x="381000" y="2724150"/>
            <a:ext cx="2590800" cy="1569660"/>
          </a:xfrm>
          <a:prstGeom prst="rect">
            <a:avLst/>
          </a:prstGeom>
        </p:spPr>
        <p:txBody>
          <a:bodyPr wrap="square">
            <a:spAutoFit/>
          </a:bodyPr>
          <a:lstStyle/>
          <a:p>
            <a:r>
              <a:rPr lang="en-US" sz="1600" dirty="0">
                <a:solidFill>
                  <a:srgbClr val="002060"/>
                </a:solidFill>
                <a:latin typeface="Helvetica Neue Thin" charset="0"/>
                <a:ea typeface="Helvetica Neue Thin" charset="0"/>
                <a:cs typeface="Helvetica Neue Thin" charset="0"/>
              </a:rPr>
              <a:t>Currents on Demand for </a:t>
            </a:r>
          </a:p>
          <a:p>
            <a:r>
              <a:rPr lang="en-US" sz="1600" dirty="0">
                <a:solidFill>
                  <a:srgbClr val="002060"/>
                </a:solidFill>
                <a:latin typeface="Helvetica Neue Thin" charset="0"/>
                <a:ea typeface="Helvetica Neue Thin" charset="0"/>
                <a:cs typeface="Helvetica Neue Thin" charset="0"/>
              </a:rPr>
              <a:t>2.2 Billion Points On Earth</a:t>
            </a:r>
          </a:p>
          <a:p>
            <a:endParaRPr lang="en-US" sz="1600" dirty="0">
              <a:solidFill>
                <a:srgbClr val="002060"/>
              </a:solidFill>
              <a:latin typeface="Helvetica Neue Thin" charset="0"/>
              <a:ea typeface="Helvetica Neue Thin" charset="0"/>
              <a:cs typeface="Helvetica Neue Thin" charset="0"/>
            </a:endParaRPr>
          </a:p>
          <a:p>
            <a:r>
              <a:rPr lang="en-US" sz="1600" dirty="0">
                <a:solidFill>
                  <a:srgbClr val="002060"/>
                </a:solidFill>
                <a:latin typeface="Helvetica Neue Thin" charset="0"/>
                <a:ea typeface="Helvetica Neue Thin" charset="0"/>
                <a:cs typeface="Helvetica Neue Thin" charset="0"/>
              </a:rPr>
              <a:t>Full Coverage across APAC at Hyper-Local Resolution </a:t>
            </a:r>
          </a:p>
        </p:txBody>
      </p:sp>
    </p:spTree>
    <p:extLst>
      <p:ext uri="{BB962C8B-B14F-4D97-AF65-F5344CB8AC3E}">
        <p14:creationId xmlns:p14="http://schemas.microsoft.com/office/powerpoint/2010/main" val="3003379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6226983" cy="5143086"/>
          </a:xfrm>
          <a:prstGeom prst="rect">
            <a:avLst/>
          </a:prstGeom>
        </p:spPr>
      </p:pic>
      <p:sp>
        <p:nvSpPr>
          <p:cNvPr id="2" name="Rectangle 1"/>
          <p:cNvSpPr/>
          <p:nvPr/>
        </p:nvSpPr>
        <p:spPr>
          <a:xfrm>
            <a:off x="321482" y="1962150"/>
            <a:ext cx="3124200" cy="584775"/>
          </a:xfrm>
          <a:prstGeom prst="rect">
            <a:avLst/>
          </a:prstGeom>
        </p:spPr>
        <p:txBody>
          <a:bodyPr wrap="square">
            <a:spAutoFit/>
          </a:bodyPr>
          <a:lstStyle/>
          <a:p>
            <a:r>
              <a:rPr lang="en-US" sz="3200" b="1" dirty="0">
                <a:solidFill>
                  <a:schemeClr val="tx2"/>
                </a:solidFill>
                <a:latin typeface="Helvetica Neue" charset="0"/>
                <a:ea typeface="Helvetica Neue" charset="0"/>
                <a:cs typeface="Helvetica Neue" charset="0"/>
                <a:rtl val="0"/>
              </a:rPr>
              <a:t>And Accuracy</a:t>
            </a:r>
          </a:p>
        </p:txBody>
      </p:sp>
      <p:pic>
        <p:nvPicPr>
          <p:cNvPr id="7" name="Picture 6" descr="TWCo IBM logo_MAIN 4C VEC (2).eps"/>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2400" y="4476750"/>
            <a:ext cx="555896" cy="494130"/>
          </a:xfrm>
          <a:prstGeom prst="rect">
            <a:avLst/>
          </a:prstGeom>
        </p:spPr>
      </p:pic>
      <p:sp>
        <p:nvSpPr>
          <p:cNvPr id="4" name="Parallelogram 3"/>
          <p:cNvSpPr/>
          <p:nvPr/>
        </p:nvSpPr>
        <p:spPr>
          <a:xfrm rot="10800000" flipH="1">
            <a:off x="1676401" y="-1"/>
            <a:ext cx="6172200" cy="5143085"/>
          </a:xfrm>
          <a:prstGeom prst="parallelogram">
            <a:avLst>
              <a:gd name="adj" fmla="val 88458"/>
            </a:avLst>
          </a:prstGeom>
          <a:solidFill>
            <a:schemeClr val="bg2">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p:cNvSpPr txBox="1"/>
          <p:nvPr/>
        </p:nvSpPr>
        <p:spPr>
          <a:xfrm rot="2981693">
            <a:off x="2268467" y="2242017"/>
            <a:ext cx="5497732" cy="1015663"/>
          </a:xfrm>
          <a:prstGeom prst="rect">
            <a:avLst/>
          </a:prstGeom>
          <a:noFill/>
        </p:spPr>
        <p:txBody>
          <a:bodyPr vert="horz" wrap="square" rtlCol="0">
            <a:spAutoFit/>
          </a:bodyPr>
          <a:lstStyle/>
          <a:p>
            <a:r>
              <a:rPr lang="en-US" sz="6000" b="1" dirty="0">
                <a:solidFill>
                  <a:schemeClr val="bg1"/>
                </a:solidFill>
                <a:latin typeface="Helvetica Neue Thin" charset="0"/>
                <a:ea typeface="Helvetica Neue Thin" charset="0"/>
                <a:cs typeface="Helvetica Neue Thin" charset="0"/>
              </a:rPr>
              <a:t>162 </a:t>
            </a:r>
            <a:r>
              <a:rPr lang="en-US" sz="3600" dirty="0">
                <a:solidFill>
                  <a:schemeClr val="bg1"/>
                </a:solidFill>
                <a:latin typeface="Helvetica Neue Thin" charset="0"/>
                <a:ea typeface="Helvetica Neue Thin" charset="0"/>
                <a:cs typeface="Helvetica Neue Thin" charset="0"/>
              </a:rPr>
              <a:t>Forecast Models</a:t>
            </a:r>
          </a:p>
        </p:txBody>
      </p:sp>
      <p:sp>
        <p:nvSpPr>
          <p:cNvPr id="8" name="Rectangle 7"/>
          <p:cNvSpPr/>
          <p:nvPr/>
        </p:nvSpPr>
        <p:spPr>
          <a:xfrm>
            <a:off x="321482" y="2624674"/>
            <a:ext cx="4572000" cy="1015663"/>
          </a:xfrm>
          <a:prstGeom prst="rect">
            <a:avLst/>
          </a:prstGeom>
        </p:spPr>
        <p:txBody>
          <a:bodyPr>
            <a:spAutoFit/>
          </a:bodyPr>
          <a:lstStyle/>
          <a:p>
            <a:r>
              <a:rPr lang="en-US" sz="2000" dirty="0">
                <a:solidFill>
                  <a:srgbClr val="002060"/>
                </a:solidFill>
                <a:latin typeface="Helvetica Neue Thin" charset="0"/>
                <a:ea typeface="Helvetica Neue Thin" charset="0"/>
                <a:cs typeface="Helvetica Neue Thin" charset="0"/>
              </a:rPr>
              <a:t>A Single Forecast Model Doesn’t Produce The Best Results; A Combination of 162 Models Does</a:t>
            </a:r>
          </a:p>
        </p:txBody>
      </p:sp>
    </p:spTree>
    <p:extLst>
      <p:ext uri="{BB962C8B-B14F-4D97-AF65-F5344CB8AC3E}">
        <p14:creationId xmlns:p14="http://schemas.microsoft.com/office/powerpoint/2010/main" val="37329476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85855" y="197333"/>
            <a:ext cx="5867400" cy="830997"/>
          </a:xfrm>
          <a:prstGeom prst="rect">
            <a:avLst/>
          </a:prstGeom>
        </p:spPr>
        <p:txBody>
          <a:bodyPr wrap="square">
            <a:spAutoFit/>
          </a:bodyPr>
          <a:lstStyle/>
          <a:p>
            <a:pPr defTabSz="914378">
              <a:defRPr/>
            </a:pPr>
            <a:r>
              <a:rPr lang="en-US" sz="3200" b="1" kern="0" dirty="0">
                <a:solidFill>
                  <a:schemeClr val="tx2"/>
                </a:solidFill>
                <a:latin typeface="Helvetica Neue" charset="0"/>
                <a:ea typeface="Helvetica Neue" charset="0"/>
                <a:cs typeface="Helvetica Neue" charset="0"/>
                <a:sym typeface="Arial"/>
                <a:rtl val="0"/>
              </a:rPr>
              <a:t>Forecasts On-Demand</a:t>
            </a:r>
          </a:p>
          <a:p>
            <a:pPr defTabSz="914378">
              <a:defRPr/>
            </a:pPr>
            <a:r>
              <a:rPr lang="en-US" sz="1400" b="1" i="1" kern="0" dirty="0">
                <a:solidFill>
                  <a:schemeClr val="tx2"/>
                </a:solidFill>
                <a:latin typeface="Helvetica Neue" charset="0"/>
                <a:ea typeface="Helvetica Neue" charset="0"/>
                <a:cs typeface="Helvetica Neue" charset="0"/>
                <a:sym typeface="Arial"/>
                <a:rtl val="0"/>
              </a:rPr>
              <a:t>Lowest Error Rates</a:t>
            </a:r>
          </a:p>
        </p:txBody>
      </p:sp>
      <p:graphicFrame>
        <p:nvGraphicFramePr>
          <p:cNvPr id="5" name="Chart 4"/>
          <p:cNvGraphicFramePr>
            <a:graphicFrameLocks/>
          </p:cNvGraphicFramePr>
          <p:nvPr>
            <p:extLst/>
          </p:nvPr>
        </p:nvGraphicFramePr>
        <p:xfrm>
          <a:off x="457200" y="1352550"/>
          <a:ext cx="8382000" cy="31242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152401" y="1131742"/>
            <a:ext cx="5129225" cy="276999"/>
          </a:xfrm>
          <a:prstGeom prst="rect">
            <a:avLst/>
          </a:prstGeom>
          <a:noFill/>
        </p:spPr>
        <p:txBody>
          <a:bodyPr wrap="square" rtlCol="0">
            <a:spAutoFit/>
          </a:bodyPr>
          <a:lstStyle/>
          <a:p>
            <a:pPr defTabSz="914378">
              <a:defRPr/>
            </a:pPr>
            <a:r>
              <a:rPr lang="en-US" sz="1100" kern="0" dirty="0">
                <a:solidFill>
                  <a:srgbClr val="FFC000"/>
                </a:solidFill>
                <a:latin typeface="Helvetica Neue Thin" charset="0"/>
                <a:ea typeface="Helvetica Neue Thin" charset="0"/>
                <a:cs typeface="Helvetica Neue Thin" charset="0"/>
              </a:rPr>
              <a:t>2015 US 1-3 Day Temperature Forecast RMS </a:t>
            </a:r>
            <a:r>
              <a:rPr lang="en-US" sz="1200" b="1" u="sng" kern="0" dirty="0">
                <a:solidFill>
                  <a:schemeClr val="tx2">
                    <a:lumMod val="50000"/>
                  </a:schemeClr>
                </a:solidFill>
                <a:latin typeface="Helvetica Neue Thin" charset="0"/>
                <a:ea typeface="Helvetica Neue Thin" charset="0"/>
                <a:cs typeface="Helvetica Neue Thin" charset="0"/>
              </a:rPr>
              <a:t>Errors</a:t>
            </a:r>
            <a:endParaRPr lang="en-US" sz="1100" b="1" u="sng" kern="0" dirty="0">
              <a:solidFill>
                <a:schemeClr val="tx2">
                  <a:lumMod val="50000"/>
                </a:schemeClr>
              </a:solidFill>
              <a:latin typeface="Helvetica Neue Thin" charset="0"/>
              <a:ea typeface="Helvetica Neue Thin" charset="0"/>
              <a:cs typeface="Helvetica Neue Thin" charset="0"/>
            </a:endParaRPr>
          </a:p>
        </p:txBody>
      </p:sp>
      <p:pic>
        <p:nvPicPr>
          <p:cNvPr id="7" name="Picture 6"/>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551965" y="2419350"/>
            <a:ext cx="417983" cy="1723170"/>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246231" y="2724151"/>
            <a:ext cx="454917" cy="1418369"/>
          </a:xfrm>
          <a:prstGeom prst="rect">
            <a:avLst/>
          </a:prstGeom>
        </p:spPr>
      </p:pic>
      <p:pic>
        <p:nvPicPr>
          <p:cNvPr id="9" name="Picture 8"/>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602850" y="2811610"/>
            <a:ext cx="435398" cy="1330910"/>
          </a:xfrm>
          <a:prstGeom prst="rect">
            <a:avLst/>
          </a:prstGeom>
        </p:spPr>
      </p:pic>
      <p:pic>
        <p:nvPicPr>
          <p:cNvPr id="12" name="Picture 11"/>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914401" y="3409951"/>
            <a:ext cx="444110" cy="732569"/>
          </a:xfrm>
          <a:prstGeom prst="rect">
            <a:avLst/>
          </a:prstGeom>
        </p:spPr>
      </p:pic>
      <p:pic>
        <p:nvPicPr>
          <p:cNvPr id="13" name="Picture 12"/>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897955" y="2633501"/>
            <a:ext cx="439409" cy="1509018"/>
          </a:xfrm>
          <a:prstGeom prst="rect">
            <a:avLst/>
          </a:prstGeom>
        </p:spPr>
      </p:pic>
      <p:pic>
        <p:nvPicPr>
          <p:cNvPr id="14" name="Picture 13"/>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8141576" y="1657350"/>
            <a:ext cx="426538" cy="2485170"/>
          </a:xfrm>
          <a:prstGeom prst="rect">
            <a:avLst/>
          </a:prstGeom>
        </p:spPr>
      </p:pic>
      <p:pic>
        <p:nvPicPr>
          <p:cNvPr id="15" name="Picture 14"/>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7472087" y="1733551"/>
            <a:ext cx="425148" cy="2408969"/>
          </a:xfrm>
          <a:prstGeom prst="rect">
            <a:avLst/>
          </a:prstGeom>
        </p:spPr>
      </p:pic>
      <p:pic>
        <p:nvPicPr>
          <p:cNvPr id="18" name="Picture 17"/>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6799529" y="1885950"/>
            <a:ext cx="474721" cy="2256570"/>
          </a:xfrm>
          <a:prstGeom prst="rect">
            <a:avLst/>
          </a:prstGeom>
        </p:spPr>
      </p:pic>
      <p:pic>
        <p:nvPicPr>
          <p:cNvPr id="20" name="Picture 19"/>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6159650" y="1962150"/>
            <a:ext cx="431895" cy="2180370"/>
          </a:xfrm>
          <a:prstGeom prst="rect">
            <a:avLst/>
          </a:prstGeom>
        </p:spPr>
      </p:pic>
      <p:pic>
        <p:nvPicPr>
          <p:cNvPr id="21" name="Picture 20"/>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5511633" y="2117918"/>
            <a:ext cx="440034" cy="2024603"/>
          </a:xfrm>
          <a:prstGeom prst="rect">
            <a:avLst/>
          </a:prstGeom>
        </p:spPr>
      </p:pic>
      <p:pic>
        <p:nvPicPr>
          <p:cNvPr id="22" name="Picture 21"/>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4876799" y="2180370"/>
            <a:ext cx="404826" cy="1962150"/>
          </a:xfrm>
          <a:prstGeom prst="rect">
            <a:avLst/>
          </a:prstGeom>
        </p:spPr>
      </p:pic>
      <p:pic>
        <p:nvPicPr>
          <p:cNvPr id="23" name="Picture 22"/>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4205945" y="2343150"/>
            <a:ext cx="426538" cy="1799370"/>
          </a:xfrm>
          <a:prstGeom prst="rect">
            <a:avLst/>
          </a:prstGeom>
        </p:spPr>
      </p:pic>
      <p:sp>
        <p:nvSpPr>
          <p:cNvPr id="19" name="Rectangle 18"/>
          <p:cNvSpPr/>
          <p:nvPr/>
        </p:nvSpPr>
        <p:spPr>
          <a:xfrm>
            <a:off x="3188340" y="4729712"/>
            <a:ext cx="3799438" cy="338554"/>
          </a:xfrm>
          <a:prstGeom prst="rect">
            <a:avLst/>
          </a:prstGeom>
        </p:spPr>
        <p:txBody>
          <a:bodyPr wrap="none">
            <a:spAutoFit/>
          </a:bodyPr>
          <a:lstStyle/>
          <a:p>
            <a:pPr defTabSz="914378">
              <a:defRPr/>
            </a:pPr>
            <a:r>
              <a:rPr lang="en-US" sz="1600" b="1" kern="0" dirty="0">
                <a:solidFill>
                  <a:srgbClr val="FFC000"/>
                </a:solidFill>
                <a:latin typeface="Helvetica Neue Thin" charset="0"/>
                <a:ea typeface="Helvetica Neue Thin" charset="0"/>
                <a:cs typeface="Helvetica Neue Thin" charset="0"/>
              </a:rPr>
              <a:t>Various government forecast models</a:t>
            </a:r>
            <a:endParaRPr lang="en-US" sz="1600" b="1" kern="0" dirty="0">
              <a:solidFill>
                <a:srgbClr val="FFC000"/>
              </a:solidFill>
            </a:endParaRPr>
          </a:p>
        </p:txBody>
      </p:sp>
      <p:sp>
        <p:nvSpPr>
          <p:cNvPr id="2" name="Right Brace 1"/>
          <p:cNvSpPr/>
          <p:nvPr/>
        </p:nvSpPr>
        <p:spPr>
          <a:xfrm rot="5400000">
            <a:off x="4892608" y="1116940"/>
            <a:ext cx="373209" cy="6897151"/>
          </a:xfrm>
          <a:prstGeom prst="rightBrace">
            <a:avLst>
              <a:gd name="adj1" fmla="val 72108"/>
              <a:gd name="adj2" fmla="val 50000"/>
            </a:avLst>
          </a:prstGeom>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78">
              <a:defRPr/>
            </a:pPr>
            <a:endParaRPr lang="en-US" kern="0" dirty="0">
              <a:solidFill>
                <a:sysClr val="windowText" lastClr="000000"/>
              </a:solidFill>
            </a:endParaRPr>
          </a:p>
        </p:txBody>
      </p:sp>
      <p:sp>
        <p:nvSpPr>
          <p:cNvPr id="4" name="Arrow: Up 3"/>
          <p:cNvSpPr/>
          <p:nvPr/>
        </p:nvSpPr>
        <p:spPr>
          <a:xfrm>
            <a:off x="866122" y="4325065"/>
            <a:ext cx="609869" cy="427056"/>
          </a:xfrm>
          <a:prstGeom prst="up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 name="Rectangle 23"/>
          <p:cNvSpPr/>
          <p:nvPr/>
        </p:nvSpPr>
        <p:spPr>
          <a:xfrm>
            <a:off x="194800" y="4776954"/>
            <a:ext cx="2562380" cy="338554"/>
          </a:xfrm>
          <a:prstGeom prst="rect">
            <a:avLst/>
          </a:prstGeom>
        </p:spPr>
        <p:txBody>
          <a:bodyPr wrap="square">
            <a:spAutoFit/>
          </a:bodyPr>
          <a:lstStyle/>
          <a:p>
            <a:pPr defTabSz="914378">
              <a:defRPr/>
            </a:pPr>
            <a:r>
              <a:rPr lang="en-US" sz="1600" b="1" kern="0" dirty="0">
                <a:solidFill>
                  <a:srgbClr val="FFC000"/>
                </a:solidFill>
                <a:latin typeface="Helvetica Neue Thin" charset="0"/>
                <a:ea typeface="Helvetica Neue Thin" charset="0"/>
                <a:cs typeface="Helvetica Neue Thin" charset="0"/>
              </a:rPr>
              <a:t>The Weather Company</a:t>
            </a:r>
            <a:endParaRPr lang="en-US" sz="1600" b="1" kern="0" dirty="0">
              <a:solidFill>
                <a:srgbClr val="FFC000"/>
              </a:solidFill>
            </a:endParaRPr>
          </a:p>
        </p:txBody>
      </p:sp>
      <p:sp>
        <p:nvSpPr>
          <p:cNvPr id="25" name="Arrow: Up 24"/>
          <p:cNvSpPr/>
          <p:nvPr/>
        </p:nvSpPr>
        <p:spPr>
          <a:xfrm rot="5400000">
            <a:off x="185078" y="3263537"/>
            <a:ext cx="299732" cy="427056"/>
          </a:xfrm>
          <a:prstGeom prst="upArrow">
            <a:avLst>
              <a:gd name="adj1" fmla="val 50000"/>
              <a:gd name="adj2" fmla="val 449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26496017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uMjjwY5GUOO4Du6fI_1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TWC 2015">
      <a:dk1>
        <a:srgbClr val="808080"/>
      </a:dk1>
      <a:lt1>
        <a:sysClr val="window" lastClr="FFFFFF"/>
      </a:lt1>
      <a:dk2>
        <a:srgbClr val="1B2F7C"/>
      </a:dk2>
      <a:lt2>
        <a:srgbClr val="2D8DD7"/>
      </a:lt2>
      <a:accent1>
        <a:srgbClr val="8FC2FF"/>
      </a:accent1>
      <a:accent2>
        <a:srgbClr val="000000"/>
      </a:accent2>
      <a:accent3>
        <a:srgbClr val="4F699C"/>
      </a:accent3>
      <a:accent4>
        <a:srgbClr val="B4B4B4"/>
      </a:accent4>
      <a:accent5>
        <a:srgbClr val="808080"/>
      </a:accent5>
      <a:accent6>
        <a:srgbClr val="FFFFF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Aa">
  <a:themeElements>
    <a:clrScheme name="Default Design 15">
      <a:dk1>
        <a:srgbClr val="000000"/>
      </a:dk1>
      <a:lt1>
        <a:srgbClr val="FFFFFF"/>
      </a:lt1>
      <a:dk2>
        <a:srgbClr val="00649D"/>
      </a:dk2>
      <a:lt2>
        <a:srgbClr val="808080"/>
      </a:lt2>
      <a:accent1>
        <a:srgbClr val="BFD1F5"/>
      </a:accent1>
      <a:accent2>
        <a:srgbClr val="003F69"/>
      </a:accent2>
      <a:accent3>
        <a:srgbClr val="FFFFFF"/>
      </a:accent3>
      <a:accent4>
        <a:srgbClr val="000000"/>
      </a:accent4>
      <a:accent5>
        <a:srgbClr val="DCE5F9"/>
      </a:accent5>
      <a:accent6>
        <a:srgbClr val="00385E"/>
      </a:accent6>
      <a:hlink>
        <a:srgbClr val="007670"/>
      </a:hlink>
      <a:folHlink>
        <a:srgbClr val="8CC63F"/>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defTabSz="914400" rtl="0" eaLnBrk="1" fontAlgn="base" latinLnBrk="0" hangingPunct="1">
          <a:lnSpc>
            <a:spcPct val="100000"/>
          </a:lnSpc>
          <a:spcBef>
            <a:spcPct val="0"/>
          </a:spcBef>
          <a:spcAft>
            <a:spcPct val="0"/>
          </a:spcAft>
          <a:buClrTx/>
          <a:buSzTx/>
          <a:buFontTx/>
          <a:buNone/>
          <a:tabLst/>
          <a:defRPr kumimoji="0" sz="1100" i="0" u="none" strike="noStrike" cap="none" normalizeH="0" baseline="0" dirty="0" smtClean="0">
            <a:ln>
              <a:noFill/>
            </a:ln>
            <a:solidFill>
              <a:schemeClr val="tx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pitchFamily="34" charset="0"/>
            <a:cs typeface="Arial" pitchFamily="34" charset="0"/>
          </a:defRPr>
        </a:defPPr>
      </a:lstStyle>
    </a:lnDef>
    <a:txDef>
      <a:spPr>
        <a:noFill/>
      </a:spPr>
      <a:bodyPr wrap="none" lIns="0" tIns="0" rIns="0" bIns="0" rtlCol="0">
        <a:spAutoFit/>
      </a:bodyPr>
      <a:lstStyle>
        <a:defPPr>
          <a:defRPr sz="1200" dirty="0"/>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003F69"/>
        </a:dk2>
        <a:lt2>
          <a:srgbClr val="808080"/>
        </a:lt2>
        <a:accent1>
          <a:srgbClr val="83D1F5"/>
        </a:accent1>
        <a:accent2>
          <a:srgbClr val="00649D"/>
        </a:accent2>
        <a:accent3>
          <a:srgbClr val="FFFFFF"/>
        </a:accent3>
        <a:accent4>
          <a:srgbClr val="000000"/>
        </a:accent4>
        <a:accent5>
          <a:srgbClr val="C1E5F9"/>
        </a:accent5>
        <a:accent6>
          <a:srgbClr val="005A8E"/>
        </a:accent6>
        <a:hlink>
          <a:srgbClr val="007670"/>
        </a:hlink>
        <a:folHlink>
          <a:srgbClr val="8CC63F"/>
        </a:folHlink>
      </a:clrScheme>
      <a:clrMap bg1="lt1" tx1="dk1" bg2="lt2" tx2="dk2" accent1="accent1" accent2="accent2" accent3="accent3" accent4="accent4" accent5="accent5" accent6="accent6" hlink="hlink" folHlink="folHlink"/>
    </a:extraClrScheme>
    <a:extraClrScheme>
      <a:clrScheme name="Default Design 14">
        <a:dk1>
          <a:srgbClr val="000000"/>
        </a:dk1>
        <a:lt1>
          <a:srgbClr val="FFFFFF"/>
        </a:lt1>
        <a:dk2>
          <a:srgbClr val="00649D"/>
        </a:dk2>
        <a:lt2>
          <a:srgbClr val="808080"/>
        </a:lt2>
        <a:accent1>
          <a:srgbClr val="83D1F5"/>
        </a:accent1>
        <a:accent2>
          <a:srgbClr val="00649D"/>
        </a:accent2>
        <a:accent3>
          <a:srgbClr val="FFFFFF"/>
        </a:accent3>
        <a:accent4>
          <a:srgbClr val="000000"/>
        </a:accent4>
        <a:accent5>
          <a:srgbClr val="C1E5F9"/>
        </a:accent5>
        <a:accent6>
          <a:srgbClr val="005A8E"/>
        </a:accent6>
        <a:hlink>
          <a:srgbClr val="007670"/>
        </a:hlink>
        <a:folHlink>
          <a:srgbClr val="8CC63F"/>
        </a:folHlink>
      </a:clrScheme>
      <a:clrMap bg1="lt1" tx1="dk1" bg2="lt2" tx2="dk2" accent1="accent1" accent2="accent2" accent3="accent3" accent4="accent4" accent5="accent5" accent6="accent6" hlink="hlink" folHlink="folHlink"/>
    </a:extraClrScheme>
    <a:extraClrScheme>
      <a:clrScheme name="Default Design 15">
        <a:dk1>
          <a:srgbClr val="000000"/>
        </a:dk1>
        <a:lt1>
          <a:srgbClr val="FFFFFF"/>
        </a:lt1>
        <a:dk2>
          <a:srgbClr val="00649D"/>
        </a:dk2>
        <a:lt2>
          <a:srgbClr val="808080"/>
        </a:lt2>
        <a:accent1>
          <a:srgbClr val="BFD1F5"/>
        </a:accent1>
        <a:accent2>
          <a:srgbClr val="003F69"/>
        </a:accent2>
        <a:accent3>
          <a:srgbClr val="FFFFFF"/>
        </a:accent3>
        <a:accent4>
          <a:srgbClr val="000000"/>
        </a:accent4>
        <a:accent5>
          <a:srgbClr val="DCE5F9"/>
        </a:accent5>
        <a:accent6>
          <a:srgbClr val="00385E"/>
        </a:accent6>
        <a:hlink>
          <a:srgbClr val="007670"/>
        </a:hlink>
        <a:folHlink>
          <a:srgbClr val="8CC63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Office Theme">
  <a:themeElements>
    <a:clrScheme name="TWC 2015">
      <a:dk1>
        <a:srgbClr val="808080"/>
      </a:dk1>
      <a:lt1>
        <a:sysClr val="window" lastClr="FFFFFF"/>
      </a:lt1>
      <a:dk2>
        <a:srgbClr val="1B2F7C"/>
      </a:dk2>
      <a:lt2>
        <a:srgbClr val="2D8DD7"/>
      </a:lt2>
      <a:accent1>
        <a:srgbClr val="8FC2FF"/>
      </a:accent1>
      <a:accent2>
        <a:srgbClr val="000000"/>
      </a:accent2>
      <a:accent3>
        <a:srgbClr val="4F699C"/>
      </a:accent3>
      <a:accent4>
        <a:srgbClr val="B4B4B4"/>
      </a:accent4>
      <a:accent5>
        <a:srgbClr val="808080"/>
      </a:accent5>
      <a:accent6>
        <a:srgbClr val="FFFFF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Aa">
  <a:themeElements>
    <a:clrScheme name="Default Design 15">
      <a:dk1>
        <a:srgbClr val="000000"/>
      </a:dk1>
      <a:lt1>
        <a:srgbClr val="FFFFFF"/>
      </a:lt1>
      <a:dk2>
        <a:srgbClr val="00649D"/>
      </a:dk2>
      <a:lt2>
        <a:srgbClr val="808080"/>
      </a:lt2>
      <a:accent1>
        <a:srgbClr val="BFD1F5"/>
      </a:accent1>
      <a:accent2>
        <a:srgbClr val="003F69"/>
      </a:accent2>
      <a:accent3>
        <a:srgbClr val="FFFFFF"/>
      </a:accent3>
      <a:accent4>
        <a:srgbClr val="000000"/>
      </a:accent4>
      <a:accent5>
        <a:srgbClr val="DCE5F9"/>
      </a:accent5>
      <a:accent6>
        <a:srgbClr val="00385E"/>
      </a:accent6>
      <a:hlink>
        <a:srgbClr val="007670"/>
      </a:hlink>
      <a:folHlink>
        <a:srgbClr val="8CC63F"/>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defTabSz="914400" rtl="0" eaLnBrk="1" fontAlgn="base" latinLnBrk="0" hangingPunct="1">
          <a:lnSpc>
            <a:spcPct val="100000"/>
          </a:lnSpc>
          <a:spcBef>
            <a:spcPct val="0"/>
          </a:spcBef>
          <a:spcAft>
            <a:spcPct val="0"/>
          </a:spcAft>
          <a:buClrTx/>
          <a:buSzTx/>
          <a:buFontTx/>
          <a:buNone/>
          <a:tabLst/>
          <a:defRPr kumimoji="0" sz="1100" i="0" u="none" strike="noStrike" cap="none" normalizeH="0" baseline="0" dirty="0" smtClean="0">
            <a:ln>
              <a:noFill/>
            </a:ln>
            <a:solidFill>
              <a:schemeClr val="tx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pitchFamily="34" charset="0"/>
            <a:cs typeface="Arial" pitchFamily="34" charset="0"/>
          </a:defRPr>
        </a:defPPr>
      </a:lstStyle>
    </a:lnDef>
    <a:txDef>
      <a:spPr>
        <a:noFill/>
      </a:spPr>
      <a:bodyPr wrap="none" lIns="0" tIns="0" rIns="0" bIns="0" rtlCol="0">
        <a:spAutoFit/>
      </a:bodyPr>
      <a:lstStyle>
        <a:defPPr>
          <a:defRPr sz="1200" dirty="0"/>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003F69"/>
        </a:dk2>
        <a:lt2>
          <a:srgbClr val="808080"/>
        </a:lt2>
        <a:accent1>
          <a:srgbClr val="83D1F5"/>
        </a:accent1>
        <a:accent2>
          <a:srgbClr val="00649D"/>
        </a:accent2>
        <a:accent3>
          <a:srgbClr val="FFFFFF"/>
        </a:accent3>
        <a:accent4>
          <a:srgbClr val="000000"/>
        </a:accent4>
        <a:accent5>
          <a:srgbClr val="C1E5F9"/>
        </a:accent5>
        <a:accent6>
          <a:srgbClr val="005A8E"/>
        </a:accent6>
        <a:hlink>
          <a:srgbClr val="007670"/>
        </a:hlink>
        <a:folHlink>
          <a:srgbClr val="8CC63F"/>
        </a:folHlink>
      </a:clrScheme>
      <a:clrMap bg1="lt1" tx1="dk1" bg2="lt2" tx2="dk2" accent1="accent1" accent2="accent2" accent3="accent3" accent4="accent4" accent5="accent5" accent6="accent6" hlink="hlink" folHlink="folHlink"/>
    </a:extraClrScheme>
    <a:extraClrScheme>
      <a:clrScheme name="Default Design 14">
        <a:dk1>
          <a:srgbClr val="000000"/>
        </a:dk1>
        <a:lt1>
          <a:srgbClr val="FFFFFF"/>
        </a:lt1>
        <a:dk2>
          <a:srgbClr val="00649D"/>
        </a:dk2>
        <a:lt2>
          <a:srgbClr val="808080"/>
        </a:lt2>
        <a:accent1>
          <a:srgbClr val="83D1F5"/>
        </a:accent1>
        <a:accent2>
          <a:srgbClr val="00649D"/>
        </a:accent2>
        <a:accent3>
          <a:srgbClr val="FFFFFF"/>
        </a:accent3>
        <a:accent4>
          <a:srgbClr val="000000"/>
        </a:accent4>
        <a:accent5>
          <a:srgbClr val="C1E5F9"/>
        </a:accent5>
        <a:accent6>
          <a:srgbClr val="005A8E"/>
        </a:accent6>
        <a:hlink>
          <a:srgbClr val="007670"/>
        </a:hlink>
        <a:folHlink>
          <a:srgbClr val="8CC63F"/>
        </a:folHlink>
      </a:clrScheme>
      <a:clrMap bg1="lt1" tx1="dk1" bg2="lt2" tx2="dk2" accent1="accent1" accent2="accent2" accent3="accent3" accent4="accent4" accent5="accent5" accent6="accent6" hlink="hlink" folHlink="folHlink"/>
    </a:extraClrScheme>
    <a:extraClrScheme>
      <a:clrScheme name="Default Design 15">
        <a:dk1>
          <a:srgbClr val="000000"/>
        </a:dk1>
        <a:lt1>
          <a:srgbClr val="FFFFFF"/>
        </a:lt1>
        <a:dk2>
          <a:srgbClr val="00649D"/>
        </a:dk2>
        <a:lt2>
          <a:srgbClr val="808080"/>
        </a:lt2>
        <a:accent1>
          <a:srgbClr val="BFD1F5"/>
        </a:accent1>
        <a:accent2>
          <a:srgbClr val="003F69"/>
        </a:accent2>
        <a:accent3>
          <a:srgbClr val="FFFFFF"/>
        </a:accent3>
        <a:accent4>
          <a:srgbClr val="000000"/>
        </a:accent4>
        <a:accent5>
          <a:srgbClr val="DCE5F9"/>
        </a:accent5>
        <a:accent6>
          <a:srgbClr val="00385E"/>
        </a:accent6>
        <a:hlink>
          <a:srgbClr val="007670"/>
        </a:hlink>
        <a:folHlink>
          <a:srgbClr val="8CC63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Aa">
  <a:themeElements>
    <a:clrScheme name="Default Design 15">
      <a:dk1>
        <a:srgbClr val="000000"/>
      </a:dk1>
      <a:lt1>
        <a:srgbClr val="FFFFFF"/>
      </a:lt1>
      <a:dk2>
        <a:srgbClr val="00649D"/>
      </a:dk2>
      <a:lt2>
        <a:srgbClr val="808080"/>
      </a:lt2>
      <a:accent1>
        <a:srgbClr val="BFD1F5"/>
      </a:accent1>
      <a:accent2>
        <a:srgbClr val="003F69"/>
      </a:accent2>
      <a:accent3>
        <a:srgbClr val="FFFFFF"/>
      </a:accent3>
      <a:accent4>
        <a:srgbClr val="000000"/>
      </a:accent4>
      <a:accent5>
        <a:srgbClr val="DCE5F9"/>
      </a:accent5>
      <a:accent6>
        <a:srgbClr val="00385E"/>
      </a:accent6>
      <a:hlink>
        <a:srgbClr val="007670"/>
      </a:hlink>
      <a:folHlink>
        <a:srgbClr val="8CC63F"/>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defTabSz="914400" rtl="0" eaLnBrk="1" fontAlgn="base" latinLnBrk="0" hangingPunct="1">
          <a:lnSpc>
            <a:spcPct val="100000"/>
          </a:lnSpc>
          <a:spcBef>
            <a:spcPct val="0"/>
          </a:spcBef>
          <a:spcAft>
            <a:spcPct val="0"/>
          </a:spcAft>
          <a:buClrTx/>
          <a:buSzTx/>
          <a:buFontTx/>
          <a:buNone/>
          <a:tabLst/>
          <a:defRPr kumimoji="0" sz="1100" i="0" u="none" strike="noStrike" cap="none" normalizeH="0" baseline="0" dirty="0" smtClean="0">
            <a:ln>
              <a:noFill/>
            </a:ln>
            <a:solidFill>
              <a:schemeClr val="tx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pitchFamily="34" charset="0"/>
            <a:cs typeface="Arial" pitchFamily="34" charset="0"/>
          </a:defRPr>
        </a:defPPr>
      </a:lstStyle>
    </a:lnDef>
    <a:txDef>
      <a:spPr>
        <a:noFill/>
      </a:spPr>
      <a:bodyPr wrap="none" lIns="0" tIns="0" rIns="0" bIns="0" rtlCol="0">
        <a:spAutoFit/>
      </a:bodyPr>
      <a:lstStyle>
        <a:defPPr>
          <a:defRPr sz="1200" dirty="0"/>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003F69"/>
        </a:dk2>
        <a:lt2>
          <a:srgbClr val="808080"/>
        </a:lt2>
        <a:accent1>
          <a:srgbClr val="83D1F5"/>
        </a:accent1>
        <a:accent2>
          <a:srgbClr val="00649D"/>
        </a:accent2>
        <a:accent3>
          <a:srgbClr val="FFFFFF"/>
        </a:accent3>
        <a:accent4>
          <a:srgbClr val="000000"/>
        </a:accent4>
        <a:accent5>
          <a:srgbClr val="C1E5F9"/>
        </a:accent5>
        <a:accent6>
          <a:srgbClr val="005A8E"/>
        </a:accent6>
        <a:hlink>
          <a:srgbClr val="007670"/>
        </a:hlink>
        <a:folHlink>
          <a:srgbClr val="8CC63F"/>
        </a:folHlink>
      </a:clrScheme>
      <a:clrMap bg1="lt1" tx1="dk1" bg2="lt2" tx2="dk2" accent1="accent1" accent2="accent2" accent3="accent3" accent4="accent4" accent5="accent5" accent6="accent6" hlink="hlink" folHlink="folHlink"/>
    </a:extraClrScheme>
    <a:extraClrScheme>
      <a:clrScheme name="Default Design 14">
        <a:dk1>
          <a:srgbClr val="000000"/>
        </a:dk1>
        <a:lt1>
          <a:srgbClr val="FFFFFF"/>
        </a:lt1>
        <a:dk2>
          <a:srgbClr val="00649D"/>
        </a:dk2>
        <a:lt2>
          <a:srgbClr val="808080"/>
        </a:lt2>
        <a:accent1>
          <a:srgbClr val="83D1F5"/>
        </a:accent1>
        <a:accent2>
          <a:srgbClr val="00649D"/>
        </a:accent2>
        <a:accent3>
          <a:srgbClr val="FFFFFF"/>
        </a:accent3>
        <a:accent4>
          <a:srgbClr val="000000"/>
        </a:accent4>
        <a:accent5>
          <a:srgbClr val="C1E5F9"/>
        </a:accent5>
        <a:accent6>
          <a:srgbClr val="005A8E"/>
        </a:accent6>
        <a:hlink>
          <a:srgbClr val="007670"/>
        </a:hlink>
        <a:folHlink>
          <a:srgbClr val="8CC63F"/>
        </a:folHlink>
      </a:clrScheme>
      <a:clrMap bg1="lt1" tx1="dk1" bg2="lt2" tx2="dk2" accent1="accent1" accent2="accent2" accent3="accent3" accent4="accent4" accent5="accent5" accent6="accent6" hlink="hlink" folHlink="folHlink"/>
    </a:extraClrScheme>
    <a:extraClrScheme>
      <a:clrScheme name="Default Design 15">
        <a:dk1>
          <a:srgbClr val="000000"/>
        </a:dk1>
        <a:lt1>
          <a:srgbClr val="FFFFFF"/>
        </a:lt1>
        <a:dk2>
          <a:srgbClr val="00649D"/>
        </a:dk2>
        <a:lt2>
          <a:srgbClr val="808080"/>
        </a:lt2>
        <a:accent1>
          <a:srgbClr val="BFD1F5"/>
        </a:accent1>
        <a:accent2>
          <a:srgbClr val="003F69"/>
        </a:accent2>
        <a:accent3>
          <a:srgbClr val="FFFFFF"/>
        </a:accent3>
        <a:accent4>
          <a:srgbClr val="000000"/>
        </a:accent4>
        <a:accent5>
          <a:srgbClr val="DCE5F9"/>
        </a:accent5>
        <a:accent6>
          <a:srgbClr val="00385E"/>
        </a:accent6>
        <a:hlink>
          <a:srgbClr val="007670"/>
        </a:hlink>
        <a:folHlink>
          <a:srgbClr val="8CC63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implot IBM Solution Discussion V1" id="{3F6A5558-FD86-E745-9C8A-EF359527AEA9}" vid="{E66F423A-6E44-3849-BBD4-99F60BD94836}"/>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322</TotalTime>
  <Words>2495</Words>
  <Application>Microsoft Office PowerPoint</Application>
  <PresentationFormat>On-screen Show (16:9)</PresentationFormat>
  <Paragraphs>430</Paragraphs>
  <Slides>22</Slides>
  <Notes>17</Notes>
  <HiddenSlides>0</HiddenSlides>
  <MMClips>0</MMClips>
  <ScaleCrop>false</ScaleCrop>
  <HeadingPairs>
    <vt:vector size="8" baseType="variant">
      <vt:variant>
        <vt:lpstr>Fonts Used</vt:lpstr>
      </vt:variant>
      <vt:variant>
        <vt:i4>18</vt:i4>
      </vt:variant>
      <vt:variant>
        <vt:lpstr>Theme</vt:lpstr>
      </vt:variant>
      <vt:variant>
        <vt:i4>6</vt:i4>
      </vt:variant>
      <vt:variant>
        <vt:lpstr>Embedded OLE Servers</vt:lpstr>
      </vt:variant>
      <vt:variant>
        <vt:i4>1</vt:i4>
      </vt:variant>
      <vt:variant>
        <vt:lpstr>Slide Titles</vt:lpstr>
      </vt:variant>
      <vt:variant>
        <vt:i4>22</vt:i4>
      </vt:variant>
    </vt:vector>
  </HeadingPairs>
  <TitlesOfParts>
    <vt:vector size="47" baseType="lpstr">
      <vt:lpstr>MS PGothic</vt:lpstr>
      <vt:lpstr>MS PGothic</vt:lpstr>
      <vt:lpstr>Arial</vt:lpstr>
      <vt:lpstr>Arial</vt:lpstr>
      <vt:lpstr>Avenir Book</vt:lpstr>
      <vt:lpstr>Avenir Medium</vt:lpstr>
      <vt:lpstr>Calibri</vt:lpstr>
      <vt:lpstr>Calibri Light</vt:lpstr>
      <vt:lpstr>Georgia</vt:lpstr>
      <vt:lpstr>Helvetica</vt:lpstr>
      <vt:lpstr>Helvetica Light</vt:lpstr>
      <vt:lpstr>Helvetica Neue</vt:lpstr>
      <vt:lpstr>Helvetica Neue Medium</vt:lpstr>
      <vt:lpstr>Helvetica Neue Thin</vt:lpstr>
      <vt:lpstr>HelvNeue Light for IBM</vt:lpstr>
      <vt:lpstr>Rembrandt</vt:lpstr>
      <vt:lpstr>Verdana</vt:lpstr>
      <vt:lpstr>Wingdings</vt:lpstr>
      <vt:lpstr>Office Theme</vt:lpstr>
      <vt:lpstr>1_Aa</vt:lpstr>
      <vt:lpstr>3_Office Theme</vt:lpstr>
      <vt:lpstr>Aa</vt:lpstr>
      <vt:lpstr>2_Aa</vt:lpstr>
      <vt:lpstr>1_Office Theme</vt:lpstr>
      <vt:lpstr>think-cell Slide</vt:lpstr>
      <vt:lpstr>November 2016</vt:lpstr>
      <vt:lpstr>PowerPoint Presentation</vt:lpstr>
      <vt:lpstr>Global trends are presenting new opportunities in food systems</vt:lpstr>
      <vt:lpstr>IBM / The Weather Company: Differentiation</vt:lpstr>
      <vt:lpstr>PowerPoint Presentation</vt:lpstr>
      <vt:lpstr>Our Story is About Data at Scale: Internet of Things</vt:lpstr>
      <vt:lpstr>PowerPoint Presentation</vt:lpstr>
      <vt:lpstr>PowerPoint Presentation</vt:lpstr>
      <vt:lpstr>PowerPoint Presentation</vt:lpstr>
      <vt:lpstr>PowerPoint Presentation</vt:lpstr>
      <vt:lpstr>PowerPoint Presentation</vt:lpstr>
      <vt:lpstr>PowerPoint Presentation</vt:lpstr>
      <vt:lpstr>Agronomic business advisor for deep agricultural insights</vt:lpstr>
      <vt:lpstr>PowerPoint Presentation</vt:lpstr>
      <vt:lpstr>Scalable Analytics for New Insights:  Integrating Agronomic Insights for Business Early Warning Systems</vt:lpstr>
      <vt:lpstr>PowerPoint Presentation</vt:lpstr>
      <vt:lpstr>PowerPoint Presentation</vt:lpstr>
      <vt:lpstr>PowerPoint Presentation</vt:lpstr>
      <vt:lpstr>IBM Solution :  Scalable Platform</vt:lpstr>
      <vt:lpstr>PowerPoint Presentation</vt:lpstr>
      <vt:lpstr>PowerPoint Presentation</vt:lpstr>
      <vt:lpstr>PowerPoint Presentation</vt:lpstr>
    </vt:vector>
  </TitlesOfParts>
  <Company>WS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ynard, Linda</dc:creator>
  <cp:lastModifiedBy>ADMINIBM</cp:lastModifiedBy>
  <cp:revision>793</cp:revision>
  <cp:lastPrinted>2016-09-07T16:52:40Z</cp:lastPrinted>
  <dcterms:created xsi:type="dcterms:W3CDTF">2014-01-20T17:57:59Z</dcterms:created>
  <dcterms:modified xsi:type="dcterms:W3CDTF">2017-02-08T17:31:40Z</dcterms:modified>
</cp:coreProperties>
</file>